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changesInfos/changesInfo1.xml" ContentType="application/vnd.ms-powerpoint.changesinfo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</p:sldMasterIdLst>
  <p:notesMasterIdLst>
    <p:notesMasterId r:id="rId13"/>
  </p:notesMasterIdLst>
  <p:sldIdLst>
    <p:sldId id="1030" r:id="rId5"/>
    <p:sldId id="1029" r:id="rId6"/>
    <p:sldId id="1022" r:id="rId7"/>
    <p:sldId id="1025" r:id="rId8"/>
    <p:sldId id="1021" r:id="rId9"/>
    <p:sldId id="336" r:id="rId10"/>
    <p:sldId id="1027" r:id="rId11"/>
    <p:sldId id="1028" r:id="rId12"/>
  </p:sldIdLst>
  <p:sldSz cx="12192000" cy="6858000"/>
  <p:notesSz cx="6858000" cy="9144000"/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70C0"/>
    <a:srgbClr val="DB4B93"/>
    <a:srgbClr val="D9408D"/>
    <a:srgbClr val="1D967F"/>
    <a:srgbClr val="FADD7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4660"/>
  </p:normalViewPr>
  <p:slideViewPr>
    <p:cSldViewPr snapToGrid="0">
      <p:cViewPr varScale="1">
        <p:scale>
          <a:sx n="70" d="100"/>
          <a:sy n="70" d="100"/>
        </p:scale>
        <p:origin x="660" y="5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notesMaster" Target="notesMasters/notesMaster1.xml"/><Relationship Id="rId18" Type="http://schemas.microsoft.com/office/2016/11/relationships/changesInfo" Target="changesInfos/changesInfo1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viewProps" Target="viewProps.xml"/><Relationship Id="rId10" Type="http://schemas.openxmlformats.org/officeDocument/2006/relationships/slide" Target="slides/slide6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presProps" Target="pres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GRANDJEAN Agathe" userId="3d6b4f36-572f-4048-8dcf-40f5dbb04ad3" providerId="ADAL" clId="{640C9A9F-B1BE-4A69-99F5-EAB9317E745F}"/>
    <pc:docChg chg="undo redo custSel addSld delSld modSld sldOrd">
      <pc:chgData name="GRANDJEAN Agathe" userId="3d6b4f36-572f-4048-8dcf-40f5dbb04ad3" providerId="ADAL" clId="{640C9A9F-B1BE-4A69-99F5-EAB9317E745F}" dt="2022-09-01T15:21:05.096" v="1838" actId="1076"/>
      <pc:docMkLst>
        <pc:docMk/>
      </pc:docMkLst>
      <pc:sldChg chg="del">
        <pc:chgData name="GRANDJEAN Agathe" userId="3d6b4f36-572f-4048-8dcf-40f5dbb04ad3" providerId="ADAL" clId="{640C9A9F-B1BE-4A69-99F5-EAB9317E745F}" dt="2022-09-01T13:13:30.057" v="6" actId="2696"/>
        <pc:sldMkLst>
          <pc:docMk/>
          <pc:sldMk cId="2188382910" sldId="257"/>
        </pc:sldMkLst>
      </pc:sldChg>
      <pc:sldChg chg="modSp">
        <pc:chgData name="GRANDJEAN Agathe" userId="3d6b4f36-572f-4048-8dcf-40f5dbb04ad3" providerId="ADAL" clId="{640C9A9F-B1BE-4A69-99F5-EAB9317E745F}" dt="2022-09-01T14:55:45.118" v="1186" actId="20577"/>
        <pc:sldMkLst>
          <pc:docMk/>
          <pc:sldMk cId="2161902102" sldId="331"/>
        </pc:sldMkLst>
        <pc:spChg chg="mod">
          <ac:chgData name="GRANDJEAN Agathe" userId="3d6b4f36-572f-4048-8dcf-40f5dbb04ad3" providerId="ADAL" clId="{640C9A9F-B1BE-4A69-99F5-EAB9317E745F}" dt="2022-09-01T14:55:45.118" v="1186" actId="20577"/>
          <ac:spMkLst>
            <pc:docMk/>
            <pc:sldMk cId="2161902102" sldId="331"/>
            <ac:spMk id="3" creationId="{F68F9E10-0847-C84E-A00D-4E630B5DE255}"/>
          </ac:spMkLst>
        </pc:spChg>
      </pc:sldChg>
      <pc:sldChg chg="addSp delSp modSp delAnim modAnim">
        <pc:chgData name="GRANDJEAN Agathe" userId="3d6b4f36-572f-4048-8dcf-40f5dbb04ad3" providerId="ADAL" clId="{640C9A9F-B1BE-4A69-99F5-EAB9317E745F}" dt="2022-09-01T15:20:44.498" v="1825" actId="207"/>
        <pc:sldMkLst>
          <pc:docMk/>
          <pc:sldMk cId="3800137601" sldId="336"/>
        </pc:sldMkLst>
        <pc:spChg chg="mod">
          <ac:chgData name="GRANDJEAN Agathe" userId="3d6b4f36-572f-4048-8dcf-40f5dbb04ad3" providerId="ADAL" clId="{640C9A9F-B1BE-4A69-99F5-EAB9317E745F}" dt="2022-09-01T13:12:38.983" v="4" actId="255"/>
          <ac:spMkLst>
            <pc:docMk/>
            <pc:sldMk cId="3800137601" sldId="336"/>
            <ac:spMk id="5" creationId="{7FECE53A-9267-D842-B87E-F184AF518E9F}"/>
          </ac:spMkLst>
        </pc:spChg>
        <pc:spChg chg="mod">
          <ac:chgData name="GRANDJEAN Agathe" userId="3d6b4f36-572f-4048-8dcf-40f5dbb04ad3" providerId="ADAL" clId="{640C9A9F-B1BE-4A69-99F5-EAB9317E745F}" dt="2022-09-01T15:10:05.477" v="1468" actId="20577"/>
          <ac:spMkLst>
            <pc:docMk/>
            <pc:sldMk cId="3800137601" sldId="336"/>
            <ac:spMk id="11" creationId="{84DDC340-B9C0-1847-A7AE-EC51DE106AFF}"/>
          </ac:spMkLst>
        </pc:spChg>
        <pc:spChg chg="mod">
          <ac:chgData name="GRANDJEAN Agathe" userId="3d6b4f36-572f-4048-8dcf-40f5dbb04ad3" providerId="ADAL" clId="{640C9A9F-B1BE-4A69-99F5-EAB9317E745F}" dt="2022-09-01T15:13:01.526" v="1672" actId="20577"/>
          <ac:spMkLst>
            <pc:docMk/>
            <pc:sldMk cId="3800137601" sldId="336"/>
            <ac:spMk id="20" creationId="{E96D9089-B190-8E4B-9563-6CE8F2EA5B2A}"/>
          </ac:spMkLst>
        </pc:spChg>
        <pc:spChg chg="del">
          <ac:chgData name="GRANDJEAN Agathe" userId="3d6b4f36-572f-4048-8dcf-40f5dbb04ad3" providerId="ADAL" clId="{640C9A9F-B1BE-4A69-99F5-EAB9317E745F}" dt="2022-09-01T15:16:17.091" v="1767" actId="478"/>
          <ac:spMkLst>
            <pc:docMk/>
            <pc:sldMk cId="3800137601" sldId="336"/>
            <ac:spMk id="27" creationId="{2ED879FC-1F72-5641-A57C-8628C08A4301}"/>
          </ac:spMkLst>
        </pc:spChg>
        <pc:spChg chg="mod">
          <ac:chgData name="GRANDJEAN Agathe" userId="3d6b4f36-572f-4048-8dcf-40f5dbb04ad3" providerId="ADAL" clId="{640C9A9F-B1BE-4A69-99F5-EAB9317E745F}" dt="2022-09-01T15:16:29.629" v="1771" actId="1076"/>
          <ac:spMkLst>
            <pc:docMk/>
            <pc:sldMk cId="3800137601" sldId="336"/>
            <ac:spMk id="30" creationId="{F85DFF55-B0D9-CE46-99C1-E5B064BA5A44}"/>
          </ac:spMkLst>
        </pc:spChg>
        <pc:spChg chg="mod">
          <ac:chgData name="GRANDJEAN Agathe" userId="3d6b4f36-572f-4048-8dcf-40f5dbb04ad3" providerId="ADAL" clId="{640C9A9F-B1BE-4A69-99F5-EAB9317E745F}" dt="2022-09-01T15:13:22.496" v="1682" actId="1076"/>
          <ac:spMkLst>
            <pc:docMk/>
            <pc:sldMk cId="3800137601" sldId="336"/>
            <ac:spMk id="32" creationId="{9A09367C-AB4E-9B4B-A050-AF0969BDF2A2}"/>
          </ac:spMkLst>
        </pc:spChg>
        <pc:spChg chg="del">
          <ac:chgData name="GRANDJEAN Agathe" userId="3d6b4f36-572f-4048-8dcf-40f5dbb04ad3" providerId="ADAL" clId="{640C9A9F-B1BE-4A69-99F5-EAB9317E745F}" dt="2022-09-01T15:18:39.023" v="1793" actId="478"/>
          <ac:spMkLst>
            <pc:docMk/>
            <pc:sldMk cId="3800137601" sldId="336"/>
            <ac:spMk id="47" creationId="{0CFF1CFD-A490-E444-A837-4D838BA56DD4}"/>
          </ac:spMkLst>
        </pc:spChg>
        <pc:spChg chg="mod">
          <ac:chgData name="GRANDJEAN Agathe" userId="3d6b4f36-572f-4048-8dcf-40f5dbb04ad3" providerId="ADAL" clId="{640C9A9F-B1BE-4A69-99F5-EAB9317E745F}" dt="2022-09-01T15:18:48.335" v="1795" actId="14100"/>
          <ac:spMkLst>
            <pc:docMk/>
            <pc:sldMk cId="3800137601" sldId="336"/>
            <ac:spMk id="50" creationId="{18AFAE81-73AE-0044-82E4-654FBE2F8727}"/>
          </ac:spMkLst>
        </pc:spChg>
        <pc:spChg chg="add mod">
          <ac:chgData name="GRANDJEAN Agathe" userId="3d6b4f36-572f-4048-8dcf-40f5dbb04ad3" providerId="ADAL" clId="{640C9A9F-B1BE-4A69-99F5-EAB9317E745F}" dt="2022-09-01T15:16:23.277" v="1769" actId="1076"/>
          <ac:spMkLst>
            <pc:docMk/>
            <pc:sldMk cId="3800137601" sldId="336"/>
            <ac:spMk id="53" creationId="{03AC90E4-C71C-48D6-BC13-6F078624C49B}"/>
          </ac:spMkLst>
        </pc:spChg>
        <pc:picChg chg="mod">
          <ac:chgData name="GRANDJEAN Agathe" userId="3d6b4f36-572f-4048-8dcf-40f5dbb04ad3" providerId="ADAL" clId="{640C9A9F-B1BE-4A69-99F5-EAB9317E745F}" dt="2022-09-01T15:20:44.498" v="1825" actId="207"/>
          <ac:picMkLst>
            <pc:docMk/>
            <pc:sldMk cId="3800137601" sldId="336"/>
            <ac:picMk id="8" creationId="{348472CE-1F5D-F642-8997-DCFF67A1DF96}"/>
          </ac:picMkLst>
        </pc:picChg>
        <pc:picChg chg="mod">
          <ac:chgData name="GRANDJEAN Agathe" userId="3d6b4f36-572f-4048-8dcf-40f5dbb04ad3" providerId="ADAL" clId="{640C9A9F-B1BE-4A69-99F5-EAB9317E745F}" dt="2022-09-01T15:20:17.437" v="1823" actId="207"/>
          <ac:picMkLst>
            <pc:docMk/>
            <pc:sldMk cId="3800137601" sldId="336"/>
            <ac:picMk id="10" creationId="{B3250BA7-5B01-FC4B-B0A3-93BB6BD75526}"/>
          </ac:picMkLst>
        </pc:picChg>
        <pc:picChg chg="mod">
          <ac:chgData name="GRANDJEAN Agathe" userId="3d6b4f36-572f-4048-8dcf-40f5dbb04ad3" providerId="ADAL" clId="{640C9A9F-B1BE-4A69-99F5-EAB9317E745F}" dt="2022-09-01T15:20:17.437" v="1823" actId="207"/>
          <ac:picMkLst>
            <pc:docMk/>
            <pc:sldMk cId="3800137601" sldId="336"/>
            <ac:picMk id="22" creationId="{90CDF5B2-0475-E34F-A2CA-C4A1DFEF6019}"/>
          </ac:picMkLst>
        </pc:picChg>
        <pc:picChg chg="del">
          <ac:chgData name="GRANDJEAN Agathe" userId="3d6b4f36-572f-4048-8dcf-40f5dbb04ad3" providerId="ADAL" clId="{640C9A9F-B1BE-4A69-99F5-EAB9317E745F}" dt="2022-09-01T15:16:14.342" v="1766" actId="478"/>
          <ac:picMkLst>
            <pc:docMk/>
            <pc:sldMk cId="3800137601" sldId="336"/>
            <ac:picMk id="26" creationId="{8F0470FC-CC73-0F43-ACFF-32D3B89289CC}"/>
          </ac:picMkLst>
        </pc:picChg>
        <pc:picChg chg="del">
          <ac:chgData name="GRANDJEAN Agathe" userId="3d6b4f36-572f-4048-8dcf-40f5dbb04ad3" providerId="ADAL" clId="{640C9A9F-B1BE-4A69-99F5-EAB9317E745F}" dt="2022-09-01T15:16:12.566" v="1765" actId="478"/>
          <ac:picMkLst>
            <pc:docMk/>
            <pc:sldMk cId="3800137601" sldId="336"/>
            <ac:picMk id="29" creationId="{3EACE063-2DC5-EB47-BEFA-DA9844FA57F0}"/>
          </ac:picMkLst>
        </pc:picChg>
        <pc:picChg chg="mod">
          <ac:chgData name="GRANDJEAN Agathe" userId="3d6b4f36-572f-4048-8dcf-40f5dbb04ad3" providerId="ADAL" clId="{640C9A9F-B1BE-4A69-99F5-EAB9317E745F}" dt="2022-09-01T15:20:17.437" v="1823" actId="207"/>
          <ac:picMkLst>
            <pc:docMk/>
            <pc:sldMk cId="3800137601" sldId="336"/>
            <ac:picMk id="39" creationId="{4E0DEDF5-3FB3-A545-A153-F13333514128}"/>
          </ac:picMkLst>
        </pc:picChg>
        <pc:picChg chg="mod">
          <ac:chgData name="GRANDJEAN Agathe" userId="3d6b4f36-572f-4048-8dcf-40f5dbb04ad3" providerId="ADAL" clId="{640C9A9F-B1BE-4A69-99F5-EAB9317E745F}" dt="2022-09-01T15:20:44.498" v="1825" actId="207"/>
          <ac:picMkLst>
            <pc:docMk/>
            <pc:sldMk cId="3800137601" sldId="336"/>
            <ac:picMk id="44" creationId="{511DB7C4-A566-AD42-A3E2-D4E8429A569A}"/>
          </ac:picMkLst>
        </pc:picChg>
        <pc:picChg chg="del">
          <ac:chgData name="GRANDJEAN Agathe" userId="3d6b4f36-572f-4048-8dcf-40f5dbb04ad3" providerId="ADAL" clId="{640C9A9F-B1BE-4A69-99F5-EAB9317E745F}" dt="2022-09-01T15:18:36.491" v="1792" actId="478"/>
          <ac:picMkLst>
            <pc:docMk/>
            <pc:sldMk cId="3800137601" sldId="336"/>
            <ac:picMk id="46" creationId="{AC2D7199-9D43-774D-BDC2-91694FB43744}"/>
          </ac:picMkLst>
        </pc:picChg>
        <pc:picChg chg="add mod">
          <ac:chgData name="GRANDJEAN Agathe" userId="3d6b4f36-572f-4048-8dcf-40f5dbb04ad3" providerId="ADAL" clId="{640C9A9F-B1BE-4A69-99F5-EAB9317E745F}" dt="2022-09-01T15:16:23.277" v="1769" actId="1076"/>
          <ac:picMkLst>
            <pc:docMk/>
            <pc:sldMk cId="3800137601" sldId="336"/>
            <ac:picMk id="48" creationId="{140E332A-9B27-497C-8398-BCDAC082803A}"/>
          </ac:picMkLst>
        </pc:picChg>
        <pc:picChg chg="mod">
          <ac:chgData name="GRANDJEAN Agathe" userId="3d6b4f36-572f-4048-8dcf-40f5dbb04ad3" providerId="ADAL" clId="{640C9A9F-B1BE-4A69-99F5-EAB9317E745F}" dt="2022-09-01T15:18:44.922" v="1794" actId="1076"/>
          <ac:picMkLst>
            <pc:docMk/>
            <pc:sldMk cId="3800137601" sldId="336"/>
            <ac:picMk id="49" creationId="{B2A9879D-CE87-4C4E-9E81-ACB6DE926E3C}"/>
          </ac:picMkLst>
        </pc:picChg>
        <pc:cxnChg chg="mod">
          <ac:chgData name="GRANDJEAN Agathe" userId="3d6b4f36-572f-4048-8dcf-40f5dbb04ad3" providerId="ADAL" clId="{640C9A9F-B1BE-4A69-99F5-EAB9317E745F}" dt="2022-09-01T15:16:14.342" v="1766" actId="478"/>
          <ac:cxnSpMkLst>
            <pc:docMk/>
            <pc:sldMk cId="3800137601" sldId="336"/>
            <ac:cxnSpMk id="31" creationId="{FF4CE290-31F3-C547-8604-06DB2E6402A9}"/>
          </ac:cxnSpMkLst>
        </pc:cxnChg>
        <pc:cxnChg chg="mod">
          <ac:chgData name="GRANDJEAN Agathe" userId="3d6b4f36-572f-4048-8dcf-40f5dbb04ad3" providerId="ADAL" clId="{640C9A9F-B1BE-4A69-99F5-EAB9317E745F}" dt="2022-09-01T15:18:36.491" v="1792" actId="478"/>
          <ac:cxnSpMkLst>
            <pc:docMk/>
            <pc:sldMk cId="3800137601" sldId="336"/>
            <ac:cxnSpMk id="102" creationId="{330D727D-8850-7B44-B53C-2C889306B47A}"/>
          </ac:cxnSpMkLst>
        </pc:cxnChg>
      </pc:sldChg>
      <pc:sldChg chg="addSp modSp del modAnim">
        <pc:chgData name="GRANDJEAN Agathe" userId="3d6b4f36-572f-4048-8dcf-40f5dbb04ad3" providerId="ADAL" clId="{640C9A9F-B1BE-4A69-99F5-EAB9317E745F}" dt="2022-09-01T15:14:15.265" v="1737" actId="2696"/>
        <pc:sldMkLst>
          <pc:docMk/>
          <pc:sldMk cId="2012440525" sldId="337"/>
        </pc:sldMkLst>
        <pc:spChg chg="mod">
          <ac:chgData name="GRANDJEAN Agathe" userId="3d6b4f36-572f-4048-8dcf-40f5dbb04ad3" providerId="ADAL" clId="{640C9A9F-B1BE-4A69-99F5-EAB9317E745F}" dt="2022-09-01T13:12:43.100" v="5" actId="108"/>
          <ac:spMkLst>
            <pc:docMk/>
            <pc:sldMk cId="2012440525" sldId="337"/>
            <ac:spMk id="5" creationId="{7FECE53A-9267-D842-B87E-F184AF518E9F}"/>
          </ac:spMkLst>
        </pc:spChg>
        <pc:spChg chg="add mod">
          <ac:chgData name="GRANDJEAN Agathe" userId="3d6b4f36-572f-4048-8dcf-40f5dbb04ad3" providerId="ADAL" clId="{640C9A9F-B1BE-4A69-99F5-EAB9317E745F}" dt="2022-09-01T14:59:36.323" v="1209" actId="1076"/>
          <ac:spMkLst>
            <pc:docMk/>
            <pc:sldMk cId="2012440525" sldId="337"/>
            <ac:spMk id="37" creationId="{E4AD95AF-813B-4574-A0E2-BFA3BA92D0A1}"/>
          </ac:spMkLst>
        </pc:spChg>
        <pc:spChg chg="add mod">
          <ac:chgData name="GRANDJEAN Agathe" userId="3d6b4f36-572f-4048-8dcf-40f5dbb04ad3" providerId="ADAL" clId="{640C9A9F-B1BE-4A69-99F5-EAB9317E745F}" dt="2022-09-01T14:59:36.323" v="1209" actId="1076"/>
          <ac:spMkLst>
            <pc:docMk/>
            <pc:sldMk cId="2012440525" sldId="337"/>
            <ac:spMk id="38" creationId="{E8157303-9B28-4383-BD13-42D5BBCBD25B}"/>
          </ac:spMkLst>
        </pc:spChg>
        <pc:spChg chg="mod">
          <ac:chgData name="GRANDJEAN Agathe" userId="3d6b4f36-572f-4048-8dcf-40f5dbb04ad3" providerId="ADAL" clId="{640C9A9F-B1BE-4A69-99F5-EAB9317E745F}" dt="2022-09-01T14:58:38.786" v="1203" actId="1076"/>
          <ac:spMkLst>
            <pc:docMk/>
            <pc:sldMk cId="2012440525" sldId="337"/>
            <ac:spMk id="55" creationId="{219BF4B9-9BF3-6242-A18C-E7C297DB5C47}"/>
          </ac:spMkLst>
        </pc:spChg>
        <pc:spChg chg="mod">
          <ac:chgData name="GRANDJEAN Agathe" userId="3d6b4f36-572f-4048-8dcf-40f5dbb04ad3" providerId="ADAL" clId="{640C9A9F-B1BE-4A69-99F5-EAB9317E745F}" dt="2022-09-01T14:58:20.659" v="1200" actId="1076"/>
          <ac:spMkLst>
            <pc:docMk/>
            <pc:sldMk cId="2012440525" sldId="337"/>
            <ac:spMk id="56" creationId="{207E4A3E-8C0C-E048-8D7B-AED11FD7FAB1}"/>
          </ac:spMkLst>
        </pc:spChg>
        <pc:spChg chg="mod">
          <ac:chgData name="GRANDJEAN Agathe" userId="3d6b4f36-572f-4048-8dcf-40f5dbb04ad3" providerId="ADAL" clId="{640C9A9F-B1BE-4A69-99F5-EAB9317E745F}" dt="2022-09-01T14:59:08.802" v="1207" actId="1076"/>
          <ac:spMkLst>
            <pc:docMk/>
            <pc:sldMk cId="2012440525" sldId="337"/>
            <ac:spMk id="62" creationId="{0E424E5D-C8D6-3B4A-A98F-F05D35C21EE0}"/>
          </ac:spMkLst>
        </pc:spChg>
        <pc:spChg chg="mod">
          <ac:chgData name="GRANDJEAN Agathe" userId="3d6b4f36-572f-4048-8dcf-40f5dbb04ad3" providerId="ADAL" clId="{640C9A9F-B1BE-4A69-99F5-EAB9317E745F}" dt="2022-09-01T14:58:06.659" v="1199" actId="1076"/>
          <ac:spMkLst>
            <pc:docMk/>
            <pc:sldMk cId="2012440525" sldId="337"/>
            <ac:spMk id="70" creationId="{4D6B2509-6E4F-1D4F-956D-DD7F36922F96}"/>
          </ac:spMkLst>
        </pc:spChg>
        <pc:picChg chg="mod">
          <ac:chgData name="GRANDJEAN Agathe" userId="3d6b4f36-572f-4048-8dcf-40f5dbb04ad3" providerId="ADAL" clId="{640C9A9F-B1BE-4A69-99F5-EAB9317E745F}" dt="2022-09-01T14:58:20.659" v="1200" actId="1076"/>
          <ac:picMkLst>
            <pc:docMk/>
            <pc:sldMk cId="2012440525" sldId="337"/>
            <ac:picMk id="48" creationId="{A32332CB-E7F0-DC43-A686-FB8C44C28CC9}"/>
          </ac:picMkLst>
        </pc:picChg>
        <pc:picChg chg="mod">
          <ac:chgData name="GRANDJEAN Agathe" userId="3d6b4f36-572f-4048-8dcf-40f5dbb04ad3" providerId="ADAL" clId="{640C9A9F-B1BE-4A69-99F5-EAB9317E745F}" dt="2022-09-01T14:59:08.802" v="1207" actId="1076"/>
          <ac:picMkLst>
            <pc:docMk/>
            <pc:sldMk cId="2012440525" sldId="337"/>
            <ac:picMk id="53" creationId="{7666560B-B131-4243-849A-31B82995D583}"/>
          </ac:picMkLst>
        </pc:picChg>
        <pc:picChg chg="mod">
          <ac:chgData name="GRANDJEAN Agathe" userId="3d6b4f36-572f-4048-8dcf-40f5dbb04ad3" providerId="ADAL" clId="{640C9A9F-B1BE-4A69-99F5-EAB9317E745F}" dt="2022-09-01T14:59:08.802" v="1207" actId="1076"/>
          <ac:picMkLst>
            <pc:docMk/>
            <pc:sldMk cId="2012440525" sldId="337"/>
            <ac:picMk id="57" creationId="{3551A1F0-1A1F-3345-8D62-143DF7784837}"/>
          </ac:picMkLst>
        </pc:picChg>
        <pc:picChg chg="mod">
          <ac:chgData name="GRANDJEAN Agathe" userId="3d6b4f36-572f-4048-8dcf-40f5dbb04ad3" providerId="ADAL" clId="{640C9A9F-B1BE-4A69-99F5-EAB9317E745F}" dt="2022-09-01T14:58:56.265" v="1206" actId="1076"/>
          <ac:picMkLst>
            <pc:docMk/>
            <pc:sldMk cId="2012440525" sldId="337"/>
            <ac:picMk id="58" creationId="{516B3A3A-CF9C-0744-96C2-84BBED6E6736}"/>
          </ac:picMkLst>
        </pc:picChg>
        <pc:picChg chg="mod">
          <ac:chgData name="GRANDJEAN Agathe" userId="3d6b4f36-572f-4048-8dcf-40f5dbb04ad3" providerId="ADAL" clId="{640C9A9F-B1BE-4A69-99F5-EAB9317E745F}" dt="2022-09-01T14:58:20.659" v="1200" actId="1076"/>
          <ac:picMkLst>
            <pc:docMk/>
            <pc:sldMk cId="2012440525" sldId="337"/>
            <ac:picMk id="60" creationId="{BC4F0B27-C686-1D40-AF46-728B85010E8C}"/>
          </ac:picMkLst>
        </pc:picChg>
        <pc:picChg chg="mod">
          <ac:chgData name="GRANDJEAN Agathe" userId="3d6b4f36-572f-4048-8dcf-40f5dbb04ad3" providerId="ADAL" clId="{640C9A9F-B1BE-4A69-99F5-EAB9317E745F}" dt="2022-09-01T14:59:08.802" v="1207" actId="1076"/>
          <ac:picMkLst>
            <pc:docMk/>
            <pc:sldMk cId="2012440525" sldId="337"/>
            <ac:picMk id="63" creationId="{79B48645-F365-3A4F-92E2-CF5E898EF16D}"/>
          </ac:picMkLst>
        </pc:picChg>
        <pc:picChg chg="mod">
          <ac:chgData name="GRANDJEAN Agathe" userId="3d6b4f36-572f-4048-8dcf-40f5dbb04ad3" providerId="ADAL" clId="{640C9A9F-B1BE-4A69-99F5-EAB9317E745F}" dt="2022-09-01T14:58:43.714" v="1204" actId="1076"/>
          <ac:picMkLst>
            <pc:docMk/>
            <pc:sldMk cId="2012440525" sldId="337"/>
            <ac:picMk id="64" creationId="{9B9029D8-9005-424B-9C55-445B601A4FBD}"/>
          </ac:picMkLst>
        </pc:picChg>
        <pc:picChg chg="mod">
          <ac:chgData name="GRANDJEAN Agathe" userId="3d6b4f36-572f-4048-8dcf-40f5dbb04ad3" providerId="ADAL" clId="{640C9A9F-B1BE-4A69-99F5-EAB9317E745F}" dt="2022-09-01T14:58:43.714" v="1204" actId="1076"/>
          <ac:picMkLst>
            <pc:docMk/>
            <pc:sldMk cId="2012440525" sldId="337"/>
            <ac:picMk id="66" creationId="{80AE590C-2A7B-4E40-9BCC-3ACE9D4647EB}"/>
          </ac:picMkLst>
        </pc:picChg>
        <pc:picChg chg="mod">
          <ac:chgData name="GRANDJEAN Agathe" userId="3d6b4f36-572f-4048-8dcf-40f5dbb04ad3" providerId="ADAL" clId="{640C9A9F-B1BE-4A69-99F5-EAB9317E745F}" dt="2022-09-01T14:58:20.659" v="1200" actId="1076"/>
          <ac:picMkLst>
            <pc:docMk/>
            <pc:sldMk cId="2012440525" sldId="337"/>
            <ac:picMk id="67" creationId="{88A00126-D06F-8C4E-93F8-1A25B55864F3}"/>
          </ac:picMkLst>
        </pc:picChg>
        <pc:cxnChg chg="mod">
          <ac:chgData name="GRANDJEAN Agathe" userId="3d6b4f36-572f-4048-8dcf-40f5dbb04ad3" providerId="ADAL" clId="{640C9A9F-B1BE-4A69-99F5-EAB9317E745F}" dt="2022-09-01T14:59:08.802" v="1207" actId="1076"/>
          <ac:cxnSpMkLst>
            <pc:docMk/>
            <pc:sldMk cId="2012440525" sldId="337"/>
            <ac:cxnSpMk id="65" creationId="{6C7BBA1D-F98C-404B-88F2-D9D7D48D5048}"/>
          </ac:cxnSpMkLst>
        </pc:cxnChg>
        <pc:cxnChg chg="mod">
          <ac:chgData name="GRANDJEAN Agathe" userId="3d6b4f36-572f-4048-8dcf-40f5dbb04ad3" providerId="ADAL" clId="{640C9A9F-B1BE-4A69-99F5-EAB9317E745F}" dt="2022-09-01T14:59:08.802" v="1207" actId="1076"/>
          <ac:cxnSpMkLst>
            <pc:docMk/>
            <pc:sldMk cId="2012440525" sldId="337"/>
            <ac:cxnSpMk id="71" creationId="{08CCACAA-F39C-F541-9242-4B4C2C4F90BD}"/>
          </ac:cxnSpMkLst>
        </pc:cxnChg>
        <pc:cxnChg chg="mod">
          <ac:chgData name="GRANDJEAN Agathe" userId="3d6b4f36-572f-4048-8dcf-40f5dbb04ad3" providerId="ADAL" clId="{640C9A9F-B1BE-4A69-99F5-EAB9317E745F}" dt="2022-09-01T14:59:08.802" v="1207" actId="1076"/>
          <ac:cxnSpMkLst>
            <pc:docMk/>
            <pc:sldMk cId="2012440525" sldId="337"/>
            <ac:cxnSpMk id="72" creationId="{98C2E43C-79EA-D54F-B214-B5DB62AB5305}"/>
          </ac:cxnSpMkLst>
        </pc:cxnChg>
        <pc:cxnChg chg="mod">
          <ac:chgData name="GRANDJEAN Agathe" userId="3d6b4f36-572f-4048-8dcf-40f5dbb04ad3" providerId="ADAL" clId="{640C9A9F-B1BE-4A69-99F5-EAB9317E745F}" dt="2022-09-01T14:58:34.581" v="1202" actId="1076"/>
          <ac:cxnSpMkLst>
            <pc:docMk/>
            <pc:sldMk cId="2012440525" sldId="337"/>
            <ac:cxnSpMk id="73" creationId="{068E524E-47C8-8142-9A2E-B36AAA97E43A}"/>
          </ac:cxnSpMkLst>
        </pc:cxnChg>
        <pc:cxnChg chg="mod">
          <ac:chgData name="GRANDJEAN Agathe" userId="3d6b4f36-572f-4048-8dcf-40f5dbb04ad3" providerId="ADAL" clId="{640C9A9F-B1BE-4A69-99F5-EAB9317E745F}" dt="2022-09-01T14:58:28.294" v="1201" actId="14100"/>
          <ac:cxnSpMkLst>
            <pc:docMk/>
            <pc:sldMk cId="2012440525" sldId="337"/>
            <ac:cxnSpMk id="74" creationId="{004817AD-A811-4648-A206-3356BD614C65}"/>
          </ac:cxnSpMkLst>
        </pc:cxnChg>
        <pc:cxnChg chg="mod">
          <ac:chgData name="GRANDJEAN Agathe" userId="3d6b4f36-572f-4048-8dcf-40f5dbb04ad3" providerId="ADAL" clId="{640C9A9F-B1BE-4A69-99F5-EAB9317E745F}" dt="2022-09-01T14:58:52.895" v="1205" actId="1076"/>
          <ac:cxnSpMkLst>
            <pc:docMk/>
            <pc:sldMk cId="2012440525" sldId="337"/>
            <ac:cxnSpMk id="75" creationId="{7AE552E4-F73B-3C47-925F-1B6DFF7713A7}"/>
          </ac:cxnSpMkLst>
        </pc:cxnChg>
      </pc:sldChg>
      <pc:sldChg chg="modSp">
        <pc:chgData name="GRANDJEAN Agathe" userId="3d6b4f36-572f-4048-8dcf-40f5dbb04ad3" providerId="ADAL" clId="{640C9A9F-B1BE-4A69-99F5-EAB9317E745F}" dt="2022-09-01T13:13:50.113" v="25" actId="1076"/>
        <pc:sldMkLst>
          <pc:docMk/>
          <pc:sldMk cId="653274929" sldId="1021"/>
        </pc:sldMkLst>
        <pc:spChg chg="mod">
          <ac:chgData name="GRANDJEAN Agathe" userId="3d6b4f36-572f-4048-8dcf-40f5dbb04ad3" providerId="ADAL" clId="{640C9A9F-B1BE-4A69-99F5-EAB9317E745F}" dt="2022-09-01T13:13:50.113" v="25" actId="1076"/>
          <ac:spMkLst>
            <pc:docMk/>
            <pc:sldMk cId="653274929" sldId="1021"/>
            <ac:spMk id="91" creationId="{B04F3D2A-9E68-7A42-8E72-7876C3885DD9}"/>
          </ac:spMkLst>
        </pc:spChg>
      </pc:sldChg>
      <pc:sldChg chg="addSp delSp modSp add ord">
        <pc:chgData name="GRANDJEAN Agathe" userId="3d6b4f36-572f-4048-8dcf-40f5dbb04ad3" providerId="ADAL" clId="{640C9A9F-B1BE-4A69-99F5-EAB9317E745F}" dt="2022-09-01T14:56:11.827" v="1194" actId="20577"/>
        <pc:sldMkLst>
          <pc:docMk/>
          <pc:sldMk cId="3426036886" sldId="1022"/>
        </pc:sldMkLst>
        <pc:spChg chg="add mod">
          <ac:chgData name="GRANDJEAN Agathe" userId="3d6b4f36-572f-4048-8dcf-40f5dbb04ad3" providerId="ADAL" clId="{640C9A9F-B1BE-4A69-99F5-EAB9317E745F}" dt="2022-09-01T14:46:06.628" v="1032" actId="14100"/>
          <ac:spMkLst>
            <pc:docMk/>
            <pc:sldMk cId="3426036886" sldId="1022"/>
            <ac:spMk id="2" creationId="{696D3F76-92D8-4BED-BAC2-72E3FE4D2614}"/>
          </ac:spMkLst>
        </pc:spChg>
        <pc:spChg chg="del">
          <ac:chgData name="GRANDJEAN Agathe" userId="3d6b4f36-572f-4048-8dcf-40f5dbb04ad3" providerId="ADAL" clId="{640C9A9F-B1BE-4A69-99F5-EAB9317E745F}" dt="2022-09-01T13:23:40.695" v="30" actId="478"/>
          <ac:spMkLst>
            <pc:docMk/>
            <pc:sldMk cId="3426036886" sldId="1022"/>
            <ac:spMk id="2" creationId="{7B903BE6-32CA-4E02-A1BC-B7812A997B3E}"/>
          </ac:spMkLst>
        </pc:spChg>
        <pc:spChg chg="del mod">
          <ac:chgData name="GRANDJEAN Agathe" userId="3d6b4f36-572f-4048-8dcf-40f5dbb04ad3" providerId="ADAL" clId="{640C9A9F-B1BE-4A69-99F5-EAB9317E745F}" dt="2022-09-01T13:23:40.695" v="30" actId="478"/>
          <ac:spMkLst>
            <pc:docMk/>
            <pc:sldMk cId="3426036886" sldId="1022"/>
            <ac:spMk id="3" creationId="{0A2C8257-1FD0-4893-8429-3CBE8E36FA80}"/>
          </ac:spMkLst>
        </pc:spChg>
        <pc:spChg chg="del">
          <ac:chgData name="GRANDJEAN Agathe" userId="3d6b4f36-572f-4048-8dcf-40f5dbb04ad3" providerId="ADAL" clId="{640C9A9F-B1BE-4A69-99F5-EAB9317E745F}" dt="2022-09-01T13:23:37.284" v="29" actId="478"/>
          <ac:spMkLst>
            <pc:docMk/>
            <pc:sldMk cId="3426036886" sldId="1022"/>
            <ac:spMk id="4" creationId="{5567E60F-B306-4192-9C05-18E128A37B0E}"/>
          </ac:spMkLst>
        </pc:spChg>
        <pc:spChg chg="del">
          <ac:chgData name="GRANDJEAN Agathe" userId="3d6b4f36-572f-4048-8dcf-40f5dbb04ad3" providerId="ADAL" clId="{640C9A9F-B1BE-4A69-99F5-EAB9317E745F}" dt="2022-09-01T13:23:34.180" v="28" actId="478"/>
          <ac:spMkLst>
            <pc:docMk/>
            <pc:sldMk cId="3426036886" sldId="1022"/>
            <ac:spMk id="5" creationId="{708D2B0C-D527-4759-990E-A508A6413A8B}"/>
          </ac:spMkLst>
        </pc:spChg>
        <pc:spChg chg="del">
          <ac:chgData name="GRANDJEAN Agathe" userId="3d6b4f36-572f-4048-8dcf-40f5dbb04ad3" providerId="ADAL" clId="{640C9A9F-B1BE-4A69-99F5-EAB9317E745F}" dt="2022-09-01T13:23:40.695" v="30" actId="478"/>
          <ac:spMkLst>
            <pc:docMk/>
            <pc:sldMk cId="3426036886" sldId="1022"/>
            <ac:spMk id="6" creationId="{663BE02A-F3F8-4E68-A36A-DD52D715EE49}"/>
          </ac:spMkLst>
        </pc:spChg>
        <pc:spChg chg="add mod">
          <ac:chgData name="GRANDJEAN Agathe" userId="3d6b4f36-572f-4048-8dcf-40f5dbb04ad3" providerId="ADAL" clId="{640C9A9F-B1BE-4A69-99F5-EAB9317E745F}" dt="2022-09-01T14:45:07.299" v="984" actId="1076"/>
          <ac:spMkLst>
            <pc:docMk/>
            <pc:sldMk cId="3426036886" sldId="1022"/>
            <ac:spMk id="7" creationId="{200655A0-8573-407D-B5E0-F32B6FEA578C}"/>
          </ac:spMkLst>
        </pc:spChg>
        <pc:spChg chg="add mod">
          <ac:chgData name="GRANDJEAN Agathe" userId="3d6b4f36-572f-4048-8dcf-40f5dbb04ad3" providerId="ADAL" clId="{640C9A9F-B1BE-4A69-99F5-EAB9317E745F}" dt="2022-09-01T14:56:11.827" v="1194" actId="20577"/>
          <ac:spMkLst>
            <pc:docMk/>
            <pc:sldMk cId="3426036886" sldId="1022"/>
            <ac:spMk id="8" creationId="{BA061146-A6B0-44B8-85BE-7DAB1B004C72}"/>
          </ac:spMkLst>
        </pc:spChg>
        <pc:spChg chg="add mod">
          <ac:chgData name="GRANDJEAN Agathe" userId="3d6b4f36-572f-4048-8dcf-40f5dbb04ad3" providerId="ADAL" clId="{640C9A9F-B1BE-4A69-99F5-EAB9317E745F}" dt="2022-09-01T14:45:29.826" v="986" actId="20577"/>
          <ac:spMkLst>
            <pc:docMk/>
            <pc:sldMk cId="3426036886" sldId="1022"/>
            <ac:spMk id="9" creationId="{1E4ABDAD-6CE8-4905-AF26-01EF3FA3D2A1}"/>
          </ac:spMkLst>
        </pc:spChg>
        <pc:spChg chg="add mod">
          <ac:chgData name="GRANDJEAN Agathe" userId="3d6b4f36-572f-4048-8dcf-40f5dbb04ad3" providerId="ADAL" clId="{640C9A9F-B1BE-4A69-99F5-EAB9317E745F}" dt="2022-09-01T14:45:27.297" v="985" actId="20577"/>
          <ac:spMkLst>
            <pc:docMk/>
            <pc:sldMk cId="3426036886" sldId="1022"/>
            <ac:spMk id="10" creationId="{7959A5F1-AA85-4B5F-8BB5-9715363F373E}"/>
          </ac:spMkLst>
        </pc:spChg>
        <pc:spChg chg="add del mod">
          <ac:chgData name="GRANDJEAN Agathe" userId="3d6b4f36-572f-4048-8dcf-40f5dbb04ad3" providerId="ADAL" clId="{640C9A9F-B1BE-4A69-99F5-EAB9317E745F}" dt="2022-09-01T14:39:42.859" v="857" actId="478"/>
          <ac:spMkLst>
            <pc:docMk/>
            <pc:sldMk cId="3426036886" sldId="1022"/>
            <ac:spMk id="11" creationId="{842D4301-3DF0-4D86-8D39-6FEFD18A158B}"/>
          </ac:spMkLst>
        </pc:spChg>
      </pc:sldChg>
      <pc:sldChg chg="addSp delSp modSp add del ord">
        <pc:chgData name="GRANDJEAN Agathe" userId="3d6b4f36-572f-4048-8dcf-40f5dbb04ad3" providerId="ADAL" clId="{640C9A9F-B1BE-4A69-99F5-EAB9317E745F}" dt="2022-09-01T14:56:27.243" v="1195" actId="2696"/>
        <pc:sldMkLst>
          <pc:docMk/>
          <pc:sldMk cId="1858022919" sldId="1023"/>
        </pc:sldMkLst>
        <pc:spChg chg="del">
          <ac:chgData name="GRANDJEAN Agathe" userId="3d6b4f36-572f-4048-8dcf-40f5dbb04ad3" providerId="ADAL" clId="{640C9A9F-B1BE-4A69-99F5-EAB9317E745F}" dt="2022-09-01T13:30:54.179" v="38" actId="478"/>
          <ac:spMkLst>
            <pc:docMk/>
            <pc:sldMk cId="1858022919" sldId="1023"/>
            <ac:spMk id="2" creationId="{BAA398CD-11D7-43FC-AADF-2A1B6E486068}"/>
          </ac:spMkLst>
        </pc:spChg>
        <pc:spChg chg="del mod">
          <ac:chgData name="GRANDJEAN Agathe" userId="3d6b4f36-572f-4048-8dcf-40f5dbb04ad3" providerId="ADAL" clId="{640C9A9F-B1BE-4A69-99F5-EAB9317E745F}" dt="2022-09-01T13:30:54.179" v="38" actId="478"/>
          <ac:spMkLst>
            <pc:docMk/>
            <pc:sldMk cId="1858022919" sldId="1023"/>
            <ac:spMk id="3" creationId="{DD9D2C88-F496-486F-BD5F-7770F9A2EC75}"/>
          </ac:spMkLst>
        </pc:spChg>
        <pc:spChg chg="del">
          <ac:chgData name="GRANDJEAN Agathe" userId="3d6b4f36-572f-4048-8dcf-40f5dbb04ad3" providerId="ADAL" clId="{640C9A9F-B1BE-4A69-99F5-EAB9317E745F}" dt="2022-09-01T13:30:54.179" v="38" actId="478"/>
          <ac:spMkLst>
            <pc:docMk/>
            <pc:sldMk cId="1858022919" sldId="1023"/>
            <ac:spMk id="4" creationId="{468E4762-75B0-4503-97A1-628E3F201411}"/>
          </ac:spMkLst>
        </pc:spChg>
        <pc:spChg chg="del">
          <ac:chgData name="GRANDJEAN Agathe" userId="3d6b4f36-572f-4048-8dcf-40f5dbb04ad3" providerId="ADAL" clId="{640C9A9F-B1BE-4A69-99F5-EAB9317E745F}" dt="2022-09-01T13:30:54.179" v="38" actId="478"/>
          <ac:spMkLst>
            <pc:docMk/>
            <pc:sldMk cId="1858022919" sldId="1023"/>
            <ac:spMk id="5" creationId="{AAD18D65-1296-4371-BBC9-180F53ED941B}"/>
          </ac:spMkLst>
        </pc:spChg>
        <pc:spChg chg="del">
          <ac:chgData name="GRANDJEAN Agathe" userId="3d6b4f36-572f-4048-8dcf-40f5dbb04ad3" providerId="ADAL" clId="{640C9A9F-B1BE-4A69-99F5-EAB9317E745F}" dt="2022-09-01T13:30:54.179" v="38" actId="478"/>
          <ac:spMkLst>
            <pc:docMk/>
            <pc:sldMk cId="1858022919" sldId="1023"/>
            <ac:spMk id="6" creationId="{9E527061-E4D1-4C32-95D1-3F76F41FEC9A}"/>
          </ac:spMkLst>
        </pc:spChg>
        <pc:spChg chg="add mod">
          <ac:chgData name="GRANDJEAN Agathe" userId="3d6b4f36-572f-4048-8dcf-40f5dbb04ad3" providerId="ADAL" clId="{640C9A9F-B1BE-4A69-99F5-EAB9317E745F}" dt="2022-09-01T14:53:31.796" v="1126" actId="113"/>
          <ac:spMkLst>
            <pc:docMk/>
            <pc:sldMk cId="1858022919" sldId="1023"/>
            <ac:spMk id="7" creationId="{672CD466-4C5F-4E7D-B20E-F1384B38B5CC}"/>
          </ac:spMkLst>
        </pc:spChg>
        <pc:spChg chg="add mod">
          <ac:chgData name="GRANDJEAN Agathe" userId="3d6b4f36-572f-4048-8dcf-40f5dbb04ad3" providerId="ADAL" clId="{640C9A9F-B1BE-4A69-99F5-EAB9317E745F}" dt="2022-09-01T14:54:18.574" v="1161" actId="113"/>
          <ac:spMkLst>
            <pc:docMk/>
            <pc:sldMk cId="1858022919" sldId="1023"/>
            <ac:spMk id="8" creationId="{E72A901D-6E96-4AA8-A479-FCAEF98CD421}"/>
          </ac:spMkLst>
        </pc:spChg>
        <pc:spChg chg="add mod">
          <ac:chgData name="GRANDJEAN Agathe" userId="3d6b4f36-572f-4048-8dcf-40f5dbb04ad3" providerId="ADAL" clId="{640C9A9F-B1BE-4A69-99F5-EAB9317E745F}" dt="2022-09-01T14:52:20.135" v="1095" actId="14100"/>
          <ac:spMkLst>
            <pc:docMk/>
            <pc:sldMk cId="1858022919" sldId="1023"/>
            <ac:spMk id="9" creationId="{3901DA18-5AD1-4BF5-BAEF-F30DBBF0B83B}"/>
          </ac:spMkLst>
        </pc:spChg>
      </pc:sldChg>
      <pc:sldChg chg="addSp delSp modSp add del">
        <pc:chgData name="GRANDJEAN Agathe" userId="3d6b4f36-572f-4048-8dcf-40f5dbb04ad3" providerId="ADAL" clId="{640C9A9F-B1BE-4A69-99F5-EAB9317E745F}" dt="2022-09-01T14:33:57.440" v="721" actId="2696"/>
        <pc:sldMkLst>
          <pc:docMk/>
          <pc:sldMk cId="1024811799" sldId="1024"/>
        </pc:sldMkLst>
        <pc:spChg chg="del">
          <ac:chgData name="GRANDJEAN Agathe" userId="3d6b4f36-572f-4048-8dcf-40f5dbb04ad3" providerId="ADAL" clId="{640C9A9F-B1BE-4A69-99F5-EAB9317E745F}" dt="2022-09-01T13:52:33.776" v="141" actId="478"/>
          <ac:spMkLst>
            <pc:docMk/>
            <pc:sldMk cId="1024811799" sldId="1024"/>
            <ac:spMk id="2" creationId="{B5D8A64A-AC55-4C63-8E21-FF86F2B5FFE4}"/>
          </ac:spMkLst>
        </pc:spChg>
        <pc:spChg chg="del mod">
          <ac:chgData name="GRANDJEAN Agathe" userId="3d6b4f36-572f-4048-8dcf-40f5dbb04ad3" providerId="ADAL" clId="{640C9A9F-B1BE-4A69-99F5-EAB9317E745F}" dt="2022-09-01T13:52:33.776" v="141" actId="478"/>
          <ac:spMkLst>
            <pc:docMk/>
            <pc:sldMk cId="1024811799" sldId="1024"/>
            <ac:spMk id="3" creationId="{8A2E0E0C-9BE2-494E-B26C-78C835770E88}"/>
          </ac:spMkLst>
        </pc:spChg>
        <pc:spChg chg="del">
          <ac:chgData name="GRANDJEAN Agathe" userId="3d6b4f36-572f-4048-8dcf-40f5dbb04ad3" providerId="ADAL" clId="{640C9A9F-B1BE-4A69-99F5-EAB9317E745F}" dt="2022-09-01T13:52:33.776" v="141" actId="478"/>
          <ac:spMkLst>
            <pc:docMk/>
            <pc:sldMk cId="1024811799" sldId="1024"/>
            <ac:spMk id="4" creationId="{99C7C66A-DF1B-43FC-9429-17F679924BF2}"/>
          </ac:spMkLst>
        </pc:spChg>
        <pc:spChg chg="del">
          <ac:chgData name="GRANDJEAN Agathe" userId="3d6b4f36-572f-4048-8dcf-40f5dbb04ad3" providerId="ADAL" clId="{640C9A9F-B1BE-4A69-99F5-EAB9317E745F}" dt="2022-09-01T13:52:33.776" v="141" actId="478"/>
          <ac:spMkLst>
            <pc:docMk/>
            <pc:sldMk cId="1024811799" sldId="1024"/>
            <ac:spMk id="5" creationId="{8278B316-7B41-49B6-97C4-2F52BB1F7381}"/>
          </ac:spMkLst>
        </pc:spChg>
        <pc:spChg chg="del">
          <ac:chgData name="GRANDJEAN Agathe" userId="3d6b4f36-572f-4048-8dcf-40f5dbb04ad3" providerId="ADAL" clId="{640C9A9F-B1BE-4A69-99F5-EAB9317E745F}" dt="2022-09-01T13:52:33.776" v="141" actId="478"/>
          <ac:spMkLst>
            <pc:docMk/>
            <pc:sldMk cId="1024811799" sldId="1024"/>
            <ac:spMk id="6" creationId="{ECC30A83-10B2-4E6E-ADC0-CF6DF29943A6}"/>
          </ac:spMkLst>
        </pc:spChg>
        <pc:spChg chg="add mod">
          <ac:chgData name="GRANDJEAN Agathe" userId="3d6b4f36-572f-4048-8dcf-40f5dbb04ad3" providerId="ADAL" clId="{640C9A9F-B1BE-4A69-99F5-EAB9317E745F}" dt="2022-09-01T13:52:45.739" v="145"/>
          <ac:spMkLst>
            <pc:docMk/>
            <pc:sldMk cId="1024811799" sldId="1024"/>
            <ac:spMk id="7" creationId="{3EE3DE46-DCC3-47F2-B156-5DB11354BB5E}"/>
          </ac:spMkLst>
        </pc:spChg>
        <pc:spChg chg="add mod">
          <ac:chgData name="GRANDJEAN Agathe" userId="3d6b4f36-572f-4048-8dcf-40f5dbb04ad3" providerId="ADAL" clId="{640C9A9F-B1BE-4A69-99F5-EAB9317E745F}" dt="2022-09-01T13:52:55.531" v="148" actId="14100"/>
          <ac:spMkLst>
            <pc:docMk/>
            <pc:sldMk cId="1024811799" sldId="1024"/>
            <ac:spMk id="8" creationId="{002F77C0-7B30-4FF5-AE14-540CC3DD8215}"/>
          </ac:spMkLst>
        </pc:spChg>
        <pc:picChg chg="add mod">
          <ac:chgData name="GRANDJEAN Agathe" userId="3d6b4f36-572f-4048-8dcf-40f5dbb04ad3" providerId="ADAL" clId="{640C9A9F-B1BE-4A69-99F5-EAB9317E745F}" dt="2022-09-01T13:53:21.663" v="150" actId="1076"/>
          <ac:picMkLst>
            <pc:docMk/>
            <pc:sldMk cId="1024811799" sldId="1024"/>
            <ac:picMk id="9" creationId="{10E2C379-3CE0-469D-92E7-D9F670BAB9A7}"/>
          </ac:picMkLst>
        </pc:picChg>
        <pc:picChg chg="add mod">
          <ac:chgData name="GRANDJEAN Agathe" userId="3d6b4f36-572f-4048-8dcf-40f5dbb04ad3" providerId="ADAL" clId="{640C9A9F-B1BE-4A69-99F5-EAB9317E745F}" dt="2022-09-01T14:12:38.462" v="435" actId="1076"/>
          <ac:picMkLst>
            <pc:docMk/>
            <pc:sldMk cId="1024811799" sldId="1024"/>
            <ac:picMk id="10" creationId="{E221E45B-9BDD-4AE1-B96A-1214B4D0BC60}"/>
          </ac:picMkLst>
        </pc:picChg>
      </pc:sldChg>
      <pc:sldChg chg="addSp delSp modSp add ord">
        <pc:chgData name="GRANDJEAN Agathe" userId="3d6b4f36-572f-4048-8dcf-40f5dbb04ad3" providerId="ADAL" clId="{640C9A9F-B1BE-4A69-99F5-EAB9317E745F}" dt="2022-09-01T14:54:39.774" v="1171" actId="20577"/>
        <pc:sldMkLst>
          <pc:docMk/>
          <pc:sldMk cId="2469204071" sldId="1025"/>
        </pc:sldMkLst>
        <pc:spChg chg="add mod">
          <ac:chgData name="GRANDJEAN Agathe" userId="3d6b4f36-572f-4048-8dcf-40f5dbb04ad3" providerId="ADAL" clId="{640C9A9F-B1BE-4A69-99F5-EAB9317E745F}" dt="2022-09-01T14:09:20.653" v="396" actId="1037"/>
          <ac:spMkLst>
            <pc:docMk/>
            <pc:sldMk cId="2469204071" sldId="1025"/>
            <ac:spMk id="4" creationId="{D1C940E8-8D48-4E2F-9536-10E1E19A4208}"/>
          </ac:spMkLst>
        </pc:spChg>
        <pc:spChg chg="mod">
          <ac:chgData name="GRANDJEAN Agathe" userId="3d6b4f36-572f-4048-8dcf-40f5dbb04ad3" providerId="ADAL" clId="{640C9A9F-B1BE-4A69-99F5-EAB9317E745F}" dt="2022-09-01T14:54:39.774" v="1171" actId="20577"/>
          <ac:spMkLst>
            <pc:docMk/>
            <pc:sldMk cId="2469204071" sldId="1025"/>
            <ac:spMk id="7" creationId="{3EE3DE46-DCC3-47F2-B156-5DB11354BB5E}"/>
          </ac:spMkLst>
        </pc:spChg>
        <pc:spChg chg="del">
          <ac:chgData name="GRANDJEAN Agathe" userId="3d6b4f36-572f-4048-8dcf-40f5dbb04ad3" providerId="ADAL" clId="{640C9A9F-B1BE-4A69-99F5-EAB9317E745F}" dt="2022-09-01T14:18:01.429" v="475" actId="478"/>
          <ac:spMkLst>
            <pc:docMk/>
            <pc:sldMk cId="2469204071" sldId="1025"/>
            <ac:spMk id="8" creationId="{002F77C0-7B30-4FF5-AE14-540CC3DD8215}"/>
          </ac:spMkLst>
        </pc:spChg>
        <pc:spChg chg="add mod">
          <ac:chgData name="GRANDJEAN Agathe" userId="3d6b4f36-572f-4048-8dcf-40f5dbb04ad3" providerId="ADAL" clId="{640C9A9F-B1BE-4A69-99F5-EAB9317E745F}" dt="2022-09-01T14:09:20.653" v="396" actId="1037"/>
          <ac:spMkLst>
            <pc:docMk/>
            <pc:sldMk cId="2469204071" sldId="1025"/>
            <ac:spMk id="11" creationId="{81630471-4B1D-415F-861F-5DD0017A610C}"/>
          </ac:spMkLst>
        </pc:spChg>
        <pc:spChg chg="add mod">
          <ac:chgData name="GRANDJEAN Agathe" userId="3d6b4f36-572f-4048-8dcf-40f5dbb04ad3" providerId="ADAL" clId="{640C9A9F-B1BE-4A69-99F5-EAB9317E745F}" dt="2022-09-01T14:27:21.749" v="680" actId="14100"/>
          <ac:spMkLst>
            <pc:docMk/>
            <pc:sldMk cId="2469204071" sldId="1025"/>
            <ac:spMk id="12" creationId="{76E8C396-78E4-4FB0-B931-BA693E468AA4}"/>
          </ac:spMkLst>
        </pc:spChg>
        <pc:spChg chg="add mod">
          <ac:chgData name="GRANDJEAN Agathe" userId="3d6b4f36-572f-4048-8dcf-40f5dbb04ad3" providerId="ADAL" clId="{640C9A9F-B1BE-4A69-99F5-EAB9317E745F}" dt="2022-09-01T14:17:12.216" v="472" actId="207"/>
          <ac:spMkLst>
            <pc:docMk/>
            <pc:sldMk cId="2469204071" sldId="1025"/>
            <ac:spMk id="13" creationId="{C589A80D-2116-4B64-8EE1-6193F4FF8BE0}"/>
          </ac:spMkLst>
        </pc:spChg>
        <pc:spChg chg="add mod">
          <ac:chgData name="GRANDJEAN Agathe" userId="3d6b4f36-572f-4048-8dcf-40f5dbb04ad3" providerId="ADAL" clId="{640C9A9F-B1BE-4A69-99F5-EAB9317E745F}" dt="2022-09-01T14:17:12.216" v="472" actId="207"/>
          <ac:spMkLst>
            <pc:docMk/>
            <pc:sldMk cId="2469204071" sldId="1025"/>
            <ac:spMk id="14" creationId="{A7319646-F8C1-4394-824A-17E27FBD0133}"/>
          </ac:spMkLst>
        </pc:spChg>
        <pc:spChg chg="add mod">
          <ac:chgData name="GRANDJEAN Agathe" userId="3d6b4f36-572f-4048-8dcf-40f5dbb04ad3" providerId="ADAL" clId="{640C9A9F-B1BE-4A69-99F5-EAB9317E745F}" dt="2022-09-01T14:15:57.856" v="465" actId="207"/>
          <ac:spMkLst>
            <pc:docMk/>
            <pc:sldMk cId="2469204071" sldId="1025"/>
            <ac:spMk id="16" creationId="{1478201D-1762-488E-9DA1-1C76FDFAB0FD}"/>
          </ac:spMkLst>
        </pc:spChg>
        <pc:spChg chg="add mod">
          <ac:chgData name="GRANDJEAN Agathe" userId="3d6b4f36-572f-4048-8dcf-40f5dbb04ad3" providerId="ADAL" clId="{640C9A9F-B1BE-4A69-99F5-EAB9317E745F}" dt="2022-09-01T14:16:43.457" v="467" actId="207"/>
          <ac:spMkLst>
            <pc:docMk/>
            <pc:sldMk cId="2469204071" sldId="1025"/>
            <ac:spMk id="17" creationId="{F5428809-6671-4B31-8649-9BF28773E74D}"/>
          </ac:spMkLst>
        </pc:spChg>
        <pc:spChg chg="add mod">
          <ac:chgData name="GRANDJEAN Agathe" userId="3d6b4f36-572f-4048-8dcf-40f5dbb04ad3" providerId="ADAL" clId="{640C9A9F-B1BE-4A69-99F5-EAB9317E745F}" dt="2022-09-01T14:22:14.978" v="580" actId="14100"/>
          <ac:spMkLst>
            <pc:docMk/>
            <pc:sldMk cId="2469204071" sldId="1025"/>
            <ac:spMk id="18" creationId="{3DE1573E-0ED3-4D7D-85EC-8AA858C232E2}"/>
          </ac:spMkLst>
        </pc:spChg>
        <pc:spChg chg="add mod">
          <ac:chgData name="GRANDJEAN Agathe" userId="3d6b4f36-572f-4048-8dcf-40f5dbb04ad3" providerId="ADAL" clId="{640C9A9F-B1BE-4A69-99F5-EAB9317E745F}" dt="2022-09-01T14:25:37.547" v="645" actId="14100"/>
          <ac:spMkLst>
            <pc:docMk/>
            <pc:sldMk cId="2469204071" sldId="1025"/>
            <ac:spMk id="45" creationId="{310AEF55-4B80-4519-B764-D0DDD7BA0887}"/>
          </ac:spMkLst>
        </pc:spChg>
        <pc:spChg chg="add mod">
          <ac:chgData name="GRANDJEAN Agathe" userId="3d6b4f36-572f-4048-8dcf-40f5dbb04ad3" providerId="ADAL" clId="{640C9A9F-B1BE-4A69-99F5-EAB9317E745F}" dt="2022-09-01T14:20:50.319" v="532" actId="1076"/>
          <ac:spMkLst>
            <pc:docMk/>
            <pc:sldMk cId="2469204071" sldId="1025"/>
            <ac:spMk id="46" creationId="{224D56A2-7F26-4C2B-82E7-73553F5459DB}"/>
          </ac:spMkLst>
        </pc:spChg>
        <pc:spChg chg="add mod">
          <ac:chgData name="GRANDJEAN Agathe" userId="3d6b4f36-572f-4048-8dcf-40f5dbb04ad3" providerId="ADAL" clId="{640C9A9F-B1BE-4A69-99F5-EAB9317E745F}" dt="2022-09-01T14:23:35.356" v="601" actId="207"/>
          <ac:spMkLst>
            <pc:docMk/>
            <pc:sldMk cId="2469204071" sldId="1025"/>
            <ac:spMk id="47" creationId="{2B6CA6D7-4A1F-4253-86DD-F6CA5208112D}"/>
          </ac:spMkLst>
        </pc:spChg>
        <pc:spChg chg="add mod">
          <ac:chgData name="GRANDJEAN Agathe" userId="3d6b4f36-572f-4048-8dcf-40f5dbb04ad3" providerId="ADAL" clId="{640C9A9F-B1BE-4A69-99F5-EAB9317E745F}" dt="2022-09-01T14:23:30.419" v="600" actId="207"/>
          <ac:spMkLst>
            <pc:docMk/>
            <pc:sldMk cId="2469204071" sldId="1025"/>
            <ac:spMk id="48" creationId="{35EA2BA2-DDBE-4A36-8692-68767599968B}"/>
          </ac:spMkLst>
        </pc:spChg>
        <pc:spChg chg="add mod">
          <ac:chgData name="GRANDJEAN Agathe" userId="3d6b4f36-572f-4048-8dcf-40f5dbb04ad3" providerId="ADAL" clId="{640C9A9F-B1BE-4A69-99F5-EAB9317E745F}" dt="2022-09-01T14:22:33.786" v="588" actId="207"/>
          <ac:spMkLst>
            <pc:docMk/>
            <pc:sldMk cId="2469204071" sldId="1025"/>
            <ac:spMk id="52" creationId="{BA0A1D0A-A2A0-41D5-AEFE-9FFA9D78F37B}"/>
          </ac:spMkLst>
        </pc:spChg>
        <pc:spChg chg="add mod">
          <ac:chgData name="GRANDJEAN Agathe" userId="3d6b4f36-572f-4048-8dcf-40f5dbb04ad3" providerId="ADAL" clId="{640C9A9F-B1BE-4A69-99F5-EAB9317E745F}" dt="2022-09-01T14:23:59.763" v="622" actId="20577"/>
          <ac:spMkLst>
            <pc:docMk/>
            <pc:sldMk cId="2469204071" sldId="1025"/>
            <ac:spMk id="53" creationId="{3E9E2F2F-6F3C-4C42-B826-2B2200C26387}"/>
          </ac:spMkLst>
        </pc:spChg>
        <pc:spChg chg="add mod">
          <ac:chgData name="GRANDJEAN Agathe" userId="3d6b4f36-572f-4048-8dcf-40f5dbb04ad3" providerId="ADAL" clId="{640C9A9F-B1BE-4A69-99F5-EAB9317E745F}" dt="2022-09-01T14:26:15.395" v="653" actId="1076"/>
          <ac:spMkLst>
            <pc:docMk/>
            <pc:sldMk cId="2469204071" sldId="1025"/>
            <ac:spMk id="54" creationId="{076FB292-101B-4330-AC4F-A61C7E0D5B1A}"/>
          </ac:spMkLst>
        </pc:spChg>
        <pc:spChg chg="add mod">
          <ac:chgData name="GRANDJEAN Agathe" userId="3d6b4f36-572f-4048-8dcf-40f5dbb04ad3" providerId="ADAL" clId="{640C9A9F-B1BE-4A69-99F5-EAB9317E745F}" dt="2022-09-01T14:27:41.579" v="682" actId="1076"/>
          <ac:spMkLst>
            <pc:docMk/>
            <pc:sldMk cId="2469204071" sldId="1025"/>
            <ac:spMk id="60" creationId="{9C3B9940-F2DB-4527-A8F6-871412492D92}"/>
          </ac:spMkLst>
        </pc:spChg>
        <pc:spChg chg="add mod">
          <ac:chgData name="GRANDJEAN Agathe" userId="3d6b4f36-572f-4048-8dcf-40f5dbb04ad3" providerId="ADAL" clId="{640C9A9F-B1BE-4A69-99F5-EAB9317E745F}" dt="2022-09-01T14:27:48.348" v="694" actId="20577"/>
          <ac:spMkLst>
            <pc:docMk/>
            <pc:sldMk cId="2469204071" sldId="1025"/>
            <ac:spMk id="66" creationId="{366D3178-73D4-4FC2-9209-22799A56E4A8}"/>
          </ac:spMkLst>
        </pc:spChg>
        <pc:spChg chg="add mod">
          <ac:chgData name="GRANDJEAN Agathe" userId="3d6b4f36-572f-4048-8dcf-40f5dbb04ad3" providerId="ADAL" clId="{640C9A9F-B1BE-4A69-99F5-EAB9317E745F}" dt="2022-09-01T14:28:25.430" v="706" actId="207"/>
          <ac:spMkLst>
            <pc:docMk/>
            <pc:sldMk cId="2469204071" sldId="1025"/>
            <ac:spMk id="67" creationId="{EA8CFAF1-99A2-4356-A891-0A15B66D24DA}"/>
          </ac:spMkLst>
        </pc:spChg>
        <pc:spChg chg="add mod">
          <ac:chgData name="GRANDJEAN Agathe" userId="3d6b4f36-572f-4048-8dcf-40f5dbb04ad3" providerId="ADAL" clId="{640C9A9F-B1BE-4A69-99F5-EAB9317E745F}" dt="2022-09-01T14:28:30.045" v="708" actId="1076"/>
          <ac:spMkLst>
            <pc:docMk/>
            <pc:sldMk cId="2469204071" sldId="1025"/>
            <ac:spMk id="68" creationId="{FE0AE91A-3DFB-44AA-8E18-EBE1976597B6}"/>
          </ac:spMkLst>
        </pc:spChg>
        <pc:spChg chg="add mod">
          <ac:chgData name="GRANDJEAN Agathe" userId="3d6b4f36-572f-4048-8dcf-40f5dbb04ad3" providerId="ADAL" clId="{640C9A9F-B1BE-4A69-99F5-EAB9317E745F}" dt="2022-09-01T14:28:41.021" v="720" actId="20577"/>
          <ac:spMkLst>
            <pc:docMk/>
            <pc:sldMk cId="2469204071" sldId="1025"/>
            <ac:spMk id="69" creationId="{3C3BB84E-4DFD-4F26-93E3-84AB24E925A4}"/>
          </ac:spMkLst>
        </pc:spChg>
        <pc:picChg chg="add del mod">
          <ac:chgData name="GRANDJEAN Agathe" userId="3d6b4f36-572f-4048-8dcf-40f5dbb04ad3" providerId="ADAL" clId="{640C9A9F-B1BE-4A69-99F5-EAB9317E745F}" dt="2022-09-01T14:18:22.539" v="492" actId="478"/>
          <ac:picMkLst>
            <pc:docMk/>
            <pc:sldMk cId="2469204071" sldId="1025"/>
            <ac:picMk id="3" creationId="{6694B288-D0C2-45AF-9717-610520716A81}"/>
          </ac:picMkLst>
        </pc:picChg>
        <pc:picChg chg="del mod">
          <ac:chgData name="GRANDJEAN Agathe" userId="3d6b4f36-572f-4048-8dcf-40f5dbb04ad3" providerId="ADAL" clId="{640C9A9F-B1BE-4A69-99F5-EAB9317E745F}" dt="2022-09-01T14:02:51.037" v="204" actId="478"/>
          <ac:picMkLst>
            <pc:docMk/>
            <pc:sldMk cId="2469204071" sldId="1025"/>
            <ac:picMk id="9" creationId="{10E2C379-3CE0-469D-92E7-D9F670BAB9A7}"/>
          </ac:picMkLst>
        </pc:picChg>
        <pc:picChg chg="del">
          <ac:chgData name="GRANDJEAN Agathe" userId="3d6b4f36-572f-4048-8dcf-40f5dbb04ad3" providerId="ADAL" clId="{640C9A9F-B1BE-4A69-99F5-EAB9317E745F}" dt="2022-09-01T14:00:23.009" v="161" actId="478"/>
          <ac:picMkLst>
            <pc:docMk/>
            <pc:sldMk cId="2469204071" sldId="1025"/>
            <ac:picMk id="10" creationId="{E221E45B-9BDD-4AE1-B96A-1214B4D0BC60}"/>
          </ac:picMkLst>
        </pc:picChg>
        <pc:picChg chg="add del mod">
          <ac:chgData name="GRANDJEAN Agathe" userId="3d6b4f36-572f-4048-8dcf-40f5dbb04ad3" providerId="ADAL" clId="{640C9A9F-B1BE-4A69-99F5-EAB9317E745F}" dt="2022-09-01T14:05:31.973" v="322" actId="478"/>
          <ac:picMkLst>
            <pc:docMk/>
            <pc:sldMk cId="2469204071" sldId="1025"/>
            <ac:picMk id="15" creationId="{DFEBDC6E-86A6-4B1C-90E0-54D7712BC30B}"/>
          </ac:picMkLst>
        </pc:picChg>
        <pc:cxnChg chg="add mod">
          <ac:chgData name="GRANDJEAN Agathe" userId="3d6b4f36-572f-4048-8dcf-40f5dbb04ad3" providerId="ADAL" clId="{640C9A9F-B1BE-4A69-99F5-EAB9317E745F}" dt="2022-09-01T14:09:20.653" v="396" actId="1037"/>
          <ac:cxnSpMkLst>
            <pc:docMk/>
            <pc:sldMk cId="2469204071" sldId="1025"/>
            <ac:cxnSpMk id="6" creationId="{317B1889-910E-4784-B703-E21294574020}"/>
          </ac:cxnSpMkLst>
        </pc:cxnChg>
        <pc:cxnChg chg="add mod">
          <ac:chgData name="GRANDJEAN Agathe" userId="3d6b4f36-572f-4048-8dcf-40f5dbb04ad3" providerId="ADAL" clId="{640C9A9F-B1BE-4A69-99F5-EAB9317E745F}" dt="2022-09-01T14:09:20.653" v="396" actId="1037"/>
          <ac:cxnSpMkLst>
            <pc:docMk/>
            <pc:sldMk cId="2469204071" sldId="1025"/>
            <ac:cxnSpMk id="19" creationId="{59611D01-5985-47CC-BC79-AA10FEE5CA6D}"/>
          </ac:cxnSpMkLst>
        </pc:cxnChg>
        <pc:cxnChg chg="add mod">
          <ac:chgData name="GRANDJEAN Agathe" userId="3d6b4f36-572f-4048-8dcf-40f5dbb04ad3" providerId="ADAL" clId="{640C9A9F-B1BE-4A69-99F5-EAB9317E745F}" dt="2022-09-01T14:09:20.653" v="396" actId="1037"/>
          <ac:cxnSpMkLst>
            <pc:docMk/>
            <pc:sldMk cId="2469204071" sldId="1025"/>
            <ac:cxnSpMk id="23" creationId="{53CF3045-8095-43EE-8337-1A250871F4D8}"/>
          </ac:cxnSpMkLst>
        </pc:cxnChg>
        <pc:cxnChg chg="add mod">
          <ac:chgData name="GRANDJEAN Agathe" userId="3d6b4f36-572f-4048-8dcf-40f5dbb04ad3" providerId="ADAL" clId="{640C9A9F-B1BE-4A69-99F5-EAB9317E745F}" dt="2022-09-01T14:15:51.605" v="463" actId="208"/>
          <ac:cxnSpMkLst>
            <pc:docMk/>
            <pc:sldMk cId="2469204071" sldId="1025"/>
            <ac:cxnSpMk id="24" creationId="{92E00C5A-989A-4B01-9B75-369456DE248C}"/>
          </ac:cxnSpMkLst>
        </pc:cxnChg>
        <pc:cxnChg chg="add mod">
          <ac:chgData name="GRANDJEAN Agathe" userId="3d6b4f36-572f-4048-8dcf-40f5dbb04ad3" providerId="ADAL" clId="{640C9A9F-B1BE-4A69-99F5-EAB9317E745F}" dt="2022-09-01T14:25:41.875" v="646" actId="14100"/>
          <ac:cxnSpMkLst>
            <pc:docMk/>
            <pc:sldMk cId="2469204071" sldId="1025"/>
            <ac:cxnSpMk id="27" creationId="{605FB201-90FB-445C-877A-F39F82607EA8}"/>
          </ac:cxnSpMkLst>
        </pc:cxnChg>
        <pc:cxnChg chg="add mod">
          <ac:chgData name="GRANDJEAN Agathe" userId="3d6b4f36-572f-4048-8dcf-40f5dbb04ad3" providerId="ADAL" clId="{640C9A9F-B1BE-4A69-99F5-EAB9317E745F}" dt="2022-09-01T14:17:01.851" v="470" actId="208"/>
          <ac:cxnSpMkLst>
            <pc:docMk/>
            <pc:sldMk cId="2469204071" sldId="1025"/>
            <ac:cxnSpMk id="30" creationId="{561E8E70-2208-4B3B-9F15-9234FFBBFDD8}"/>
          </ac:cxnSpMkLst>
        </pc:cxnChg>
        <pc:cxnChg chg="add mod">
          <ac:chgData name="GRANDJEAN Agathe" userId="3d6b4f36-572f-4048-8dcf-40f5dbb04ad3" providerId="ADAL" clId="{640C9A9F-B1BE-4A69-99F5-EAB9317E745F}" dt="2022-09-01T14:25:45.910" v="647" actId="14100"/>
          <ac:cxnSpMkLst>
            <pc:docMk/>
            <pc:sldMk cId="2469204071" sldId="1025"/>
            <ac:cxnSpMk id="32" creationId="{446BE02E-D1ED-49BE-90D8-99383C27B5EB}"/>
          </ac:cxnSpMkLst>
        </pc:cxnChg>
        <pc:cxnChg chg="add mod">
          <ac:chgData name="GRANDJEAN Agathe" userId="3d6b4f36-572f-4048-8dcf-40f5dbb04ad3" providerId="ADAL" clId="{640C9A9F-B1BE-4A69-99F5-EAB9317E745F}" dt="2022-09-01T14:27:27.038" v="681" actId="14100"/>
          <ac:cxnSpMkLst>
            <pc:docMk/>
            <pc:sldMk cId="2469204071" sldId="1025"/>
            <ac:cxnSpMk id="34" creationId="{3B8E9E5A-23E8-4B01-B39C-979D3ACD5684}"/>
          </ac:cxnSpMkLst>
        </pc:cxnChg>
        <pc:cxnChg chg="add mod">
          <ac:chgData name="GRANDJEAN Agathe" userId="3d6b4f36-572f-4048-8dcf-40f5dbb04ad3" providerId="ADAL" clId="{640C9A9F-B1BE-4A69-99F5-EAB9317E745F}" dt="2022-09-01T14:26:02.658" v="650" actId="14100"/>
          <ac:cxnSpMkLst>
            <pc:docMk/>
            <pc:sldMk cId="2469204071" sldId="1025"/>
            <ac:cxnSpMk id="35" creationId="{7A783AD3-5EF1-496D-A551-82630E5804EA}"/>
          </ac:cxnSpMkLst>
        </pc:cxnChg>
        <pc:cxnChg chg="add mod">
          <ac:chgData name="GRANDJEAN Agathe" userId="3d6b4f36-572f-4048-8dcf-40f5dbb04ad3" providerId="ADAL" clId="{640C9A9F-B1BE-4A69-99F5-EAB9317E745F}" dt="2022-09-01T14:17:32.277" v="474" actId="208"/>
          <ac:cxnSpMkLst>
            <pc:docMk/>
            <pc:sldMk cId="2469204071" sldId="1025"/>
            <ac:cxnSpMk id="39" creationId="{186743DA-C693-4D07-B552-8548C85A3D13}"/>
          </ac:cxnSpMkLst>
        </pc:cxnChg>
        <pc:cxnChg chg="add mod">
          <ac:chgData name="GRANDJEAN Agathe" userId="3d6b4f36-572f-4048-8dcf-40f5dbb04ad3" providerId="ADAL" clId="{640C9A9F-B1BE-4A69-99F5-EAB9317E745F}" dt="2022-09-01T14:17:28.281" v="473" actId="208"/>
          <ac:cxnSpMkLst>
            <pc:docMk/>
            <pc:sldMk cId="2469204071" sldId="1025"/>
            <ac:cxnSpMk id="42" creationId="{9BF7B2B7-383C-4B3F-B46E-01D51D1195BC}"/>
          </ac:cxnSpMkLst>
        </pc:cxnChg>
        <pc:cxnChg chg="add mod">
          <ac:chgData name="GRANDJEAN Agathe" userId="3d6b4f36-572f-4048-8dcf-40f5dbb04ad3" providerId="ADAL" clId="{640C9A9F-B1BE-4A69-99F5-EAB9317E745F}" dt="2022-09-01T14:22:18.196" v="581" actId="14100"/>
          <ac:cxnSpMkLst>
            <pc:docMk/>
            <pc:sldMk cId="2469204071" sldId="1025"/>
            <ac:cxnSpMk id="49" creationId="{88A486AE-D301-4FF8-8BD8-CFC2E3C55549}"/>
          </ac:cxnSpMkLst>
        </pc:cxnChg>
      </pc:sldChg>
      <pc:sldChg chg="addSp modSp add del ord">
        <pc:chgData name="GRANDJEAN Agathe" userId="3d6b4f36-572f-4048-8dcf-40f5dbb04ad3" providerId="ADAL" clId="{640C9A9F-B1BE-4A69-99F5-EAB9317E745F}" dt="2022-09-01T14:56:44.375" v="1196" actId="2696"/>
        <pc:sldMkLst>
          <pc:docMk/>
          <pc:sldMk cId="565130939" sldId="1026"/>
        </pc:sldMkLst>
        <pc:spChg chg="add mod">
          <ac:chgData name="GRANDJEAN Agathe" userId="3d6b4f36-572f-4048-8dcf-40f5dbb04ad3" providerId="ADAL" clId="{640C9A9F-B1BE-4A69-99F5-EAB9317E745F}" dt="2022-09-01T14:47:22.009" v="1043" actId="1076"/>
          <ac:spMkLst>
            <pc:docMk/>
            <pc:sldMk cId="565130939" sldId="1026"/>
            <ac:spMk id="3" creationId="{BF87315C-5C52-4737-A0B6-2685141DA461}"/>
          </ac:spMkLst>
        </pc:spChg>
      </pc:sldChg>
      <pc:sldChg chg="addSp delSp modSp add delAnim modAnim">
        <pc:chgData name="GRANDJEAN Agathe" userId="3d6b4f36-572f-4048-8dcf-40f5dbb04ad3" providerId="ADAL" clId="{640C9A9F-B1BE-4A69-99F5-EAB9317E745F}" dt="2022-09-01T15:21:05.096" v="1838" actId="1076"/>
        <pc:sldMkLst>
          <pc:docMk/>
          <pc:sldMk cId="1049473465" sldId="1026"/>
        </pc:sldMkLst>
        <pc:spChg chg="del">
          <ac:chgData name="GRANDJEAN Agathe" userId="3d6b4f36-572f-4048-8dcf-40f5dbb04ad3" providerId="ADAL" clId="{640C9A9F-B1BE-4A69-99F5-EAB9317E745F}" dt="2022-09-01T15:00:39.885" v="1213" actId="478"/>
          <ac:spMkLst>
            <pc:docMk/>
            <pc:sldMk cId="1049473465" sldId="1026"/>
            <ac:spMk id="2" creationId="{80A011C4-8A2D-4A79-934E-B8568825CE37}"/>
          </ac:spMkLst>
        </pc:spChg>
        <pc:spChg chg="del mod">
          <ac:chgData name="GRANDJEAN Agathe" userId="3d6b4f36-572f-4048-8dcf-40f5dbb04ad3" providerId="ADAL" clId="{640C9A9F-B1BE-4A69-99F5-EAB9317E745F}" dt="2022-09-01T15:00:39.885" v="1213" actId="478"/>
          <ac:spMkLst>
            <pc:docMk/>
            <pc:sldMk cId="1049473465" sldId="1026"/>
            <ac:spMk id="3" creationId="{1B8EB58A-0AA8-48D7-8A16-3A51DB5E5C33}"/>
          </ac:spMkLst>
        </pc:spChg>
        <pc:spChg chg="del">
          <ac:chgData name="GRANDJEAN Agathe" userId="3d6b4f36-572f-4048-8dcf-40f5dbb04ad3" providerId="ADAL" clId="{640C9A9F-B1BE-4A69-99F5-EAB9317E745F}" dt="2022-09-01T15:00:36.066" v="1212" actId="478"/>
          <ac:spMkLst>
            <pc:docMk/>
            <pc:sldMk cId="1049473465" sldId="1026"/>
            <ac:spMk id="4" creationId="{4C53D9E4-A1CD-4262-A3D6-66630238309E}"/>
          </ac:spMkLst>
        </pc:spChg>
        <pc:spChg chg="del">
          <ac:chgData name="GRANDJEAN Agathe" userId="3d6b4f36-572f-4048-8dcf-40f5dbb04ad3" providerId="ADAL" clId="{640C9A9F-B1BE-4A69-99F5-EAB9317E745F}" dt="2022-09-01T15:00:39.885" v="1213" actId="478"/>
          <ac:spMkLst>
            <pc:docMk/>
            <pc:sldMk cId="1049473465" sldId="1026"/>
            <ac:spMk id="5" creationId="{F34FB737-B660-444A-86D1-7AAF87BA4620}"/>
          </ac:spMkLst>
        </pc:spChg>
        <pc:spChg chg="del">
          <ac:chgData name="GRANDJEAN Agathe" userId="3d6b4f36-572f-4048-8dcf-40f5dbb04ad3" providerId="ADAL" clId="{640C9A9F-B1BE-4A69-99F5-EAB9317E745F}" dt="2022-09-01T15:00:39.885" v="1213" actId="478"/>
          <ac:spMkLst>
            <pc:docMk/>
            <pc:sldMk cId="1049473465" sldId="1026"/>
            <ac:spMk id="6" creationId="{02624E89-7D1A-4D9F-B596-A84177C1B054}"/>
          </ac:spMkLst>
        </pc:spChg>
        <pc:spChg chg="add mod">
          <ac:chgData name="GRANDJEAN Agathe" userId="3d6b4f36-572f-4048-8dcf-40f5dbb04ad3" providerId="ADAL" clId="{640C9A9F-B1BE-4A69-99F5-EAB9317E745F}" dt="2022-09-01T15:05:00.853" v="1306" actId="20577"/>
          <ac:spMkLst>
            <pc:docMk/>
            <pc:sldMk cId="1049473465" sldId="1026"/>
            <ac:spMk id="8" creationId="{37605367-91C4-4411-8C24-A19C35B04CA1}"/>
          </ac:spMkLst>
        </pc:spChg>
        <pc:spChg chg="add mod">
          <ac:chgData name="GRANDJEAN Agathe" userId="3d6b4f36-572f-4048-8dcf-40f5dbb04ad3" providerId="ADAL" clId="{640C9A9F-B1BE-4A69-99F5-EAB9317E745F}" dt="2022-09-01T15:08:14.188" v="1404" actId="207"/>
          <ac:spMkLst>
            <pc:docMk/>
            <pc:sldMk cId="1049473465" sldId="1026"/>
            <ac:spMk id="14" creationId="{23B8E509-CAC6-430C-8E58-26B276DDB439}"/>
          </ac:spMkLst>
        </pc:spChg>
        <pc:spChg chg="add mod">
          <ac:chgData name="GRANDJEAN Agathe" userId="3d6b4f36-572f-4048-8dcf-40f5dbb04ad3" providerId="ADAL" clId="{640C9A9F-B1BE-4A69-99F5-EAB9317E745F}" dt="2022-09-01T15:05:46.358" v="1308" actId="1076"/>
          <ac:spMkLst>
            <pc:docMk/>
            <pc:sldMk cId="1049473465" sldId="1026"/>
            <ac:spMk id="17" creationId="{50163567-A2EA-45C8-B069-FA7C0A2A8BC9}"/>
          </ac:spMkLst>
        </pc:spChg>
        <pc:spChg chg="add mod">
          <ac:chgData name="GRANDJEAN Agathe" userId="3d6b4f36-572f-4048-8dcf-40f5dbb04ad3" providerId="ADAL" clId="{640C9A9F-B1BE-4A69-99F5-EAB9317E745F}" dt="2022-09-01T15:21:05.096" v="1838" actId="1076"/>
          <ac:spMkLst>
            <pc:docMk/>
            <pc:sldMk cId="1049473465" sldId="1026"/>
            <ac:spMk id="22" creationId="{E28E2C59-BF5D-49CF-9BC5-0979FF1D2D0B}"/>
          </ac:spMkLst>
        </pc:spChg>
        <pc:spChg chg="add mod">
          <ac:chgData name="GRANDJEAN Agathe" userId="3d6b4f36-572f-4048-8dcf-40f5dbb04ad3" providerId="ADAL" clId="{640C9A9F-B1BE-4A69-99F5-EAB9317E745F}" dt="2022-09-01T15:04:48.197" v="1291" actId="20577"/>
          <ac:spMkLst>
            <pc:docMk/>
            <pc:sldMk cId="1049473465" sldId="1026"/>
            <ac:spMk id="28" creationId="{077E0A21-3919-44DB-956F-BAA06EF1BC0F}"/>
          </ac:spMkLst>
        </pc:spChg>
        <pc:spChg chg="add mod">
          <ac:chgData name="GRANDJEAN Agathe" userId="3d6b4f36-572f-4048-8dcf-40f5dbb04ad3" providerId="ADAL" clId="{640C9A9F-B1BE-4A69-99F5-EAB9317E745F}" dt="2022-09-01T15:03:06.841" v="1272" actId="20577"/>
          <ac:spMkLst>
            <pc:docMk/>
            <pc:sldMk cId="1049473465" sldId="1026"/>
            <ac:spMk id="31" creationId="{8D15EAD2-09A4-4FA7-9F46-241C24C2CEAF}"/>
          </ac:spMkLst>
        </pc:spChg>
        <pc:spChg chg="add mod">
          <ac:chgData name="GRANDJEAN Agathe" userId="3d6b4f36-572f-4048-8dcf-40f5dbb04ad3" providerId="ADAL" clId="{640C9A9F-B1BE-4A69-99F5-EAB9317E745F}" dt="2022-09-01T15:06:20.217" v="1343" actId="20577"/>
          <ac:spMkLst>
            <pc:docMk/>
            <pc:sldMk cId="1049473465" sldId="1026"/>
            <ac:spMk id="33" creationId="{5EE8790E-7B68-47E0-941F-4C2E4A267DC8}"/>
          </ac:spMkLst>
        </pc:spChg>
        <pc:picChg chg="add mod">
          <ac:chgData name="GRANDJEAN Agathe" userId="3d6b4f36-572f-4048-8dcf-40f5dbb04ad3" providerId="ADAL" clId="{640C9A9F-B1BE-4A69-99F5-EAB9317E745F}" dt="2022-09-01T15:07:11.271" v="1399" actId="207"/>
          <ac:picMkLst>
            <pc:docMk/>
            <pc:sldMk cId="1049473465" sldId="1026"/>
            <ac:picMk id="7" creationId="{E6215330-1376-41C3-A0C7-6CF2629CC69A}"/>
          </ac:picMkLst>
        </pc:picChg>
        <pc:picChg chg="add mod">
          <ac:chgData name="GRANDJEAN Agathe" userId="3d6b4f36-572f-4048-8dcf-40f5dbb04ad3" providerId="ADAL" clId="{640C9A9F-B1BE-4A69-99F5-EAB9317E745F}" dt="2022-09-01T15:07:11.271" v="1399" actId="207"/>
          <ac:picMkLst>
            <pc:docMk/>
            <pc:sldMk cId="1049473465" sldId="1026"/>
            <ac:picMk id="9" creationId="{0EBD7BC2-CE58-46FA-9ECF-4FD1C108DFF7}"/>
          </ac:picMkLst>
        </pc:picChg>
        <pc:picChg chg="add mod">
          <ac:chgData name="GRANDJEAN Agathe" userId="3d6b4f36-572f-4048-8dcf-40f5dbb04ad3" providerId="ADAL" clId="{640C9A9F-B1BE-4A69-99F5-EAB9317E745F}" dt="2022-09-01T15:07:11.271" v="1399" actId="207"/>
          <ac:picMkLst>
            <pc:docMk/>
            <pc:sldMk cId="1049473465" sldId="1026"/>
            <ac:picMk id="10" creationId="{61BAE638-D2CD-4427-A3FF-52E0FE2A4D4A}"/>
          </ac:picMkLst>
        </pc:picChg>
        <pc:picChg chg="add mod">
          <ac:chgData name="GRANDJEAN Agathe" userId="3d6b4f36-572f-4048-8dcf-40f5dbb04ad3" providerId="ADAL" clId="{640C9A9F-B1BE-4A69-99F5-EAB9317E745F}" dt="2022-09-01T15:07:23.610" v="1400" actId="207"/>
          <ac:picMkLst>
            <pc:docMk/>
            <pc:sldMk cId="1049473465" sldId="1026"/>
            <ac:picMk id="13" creationId="{8FAE8E54-C73C-4BB1-BB31-665E263C1B30}"/>
          </ac:picMkLst>
        </pc:picChg>
        <pc:picChg chg="add mod">
          <ac:chgData name="GRANDJEAN Agathe" userId="3d6b4f36-572f-4048-8dcf-40f5dbb04ad3" providerId="ADAL" clId="{640C9A9F-B1BE-4A69-99F5-EAB9317E745F}" dt="2022-09-01T15:07:23.610" v="1400" actId="207"/>
          <ac:picMkLst>
            <pc:docMk/>
            <pc:sldMk cId="1049473465" sldId="1026"/>
            <ac:picMk id="15" creationId="{04A83542-F17C-4B9F-A3BE-D62C29447018}"/>
          </ac:picMkLst>
        </pc:picChg>
        <pc:picChg chg="add mod">
          <ac:chgData name="GRANDJEAN Agathe" userId="3d6b4f36-572f-4048-8dcf-40f5dbb04ad3" providerId="ADAL" clId="{640C9A9F-B1BE-4A69-99F5-EAB9317E745F}" dt="2022-09-01T15:07:35.805" v="1401" actId="207"/>
          <ac:picMkLst>
            <pc:docMk/>
            <pc:sldMk cId="1049473465" sldId="1026"/>
            <ac:picMk id="16" creationId="{0204E21F-C7CD-4F3E-A5B2-A8C8FAB06F60}"/>
          </ac:picMkLst>
        </pc:picChg>
        <pc:picChg chg="add mod">
          <ac:chgData name="GRANDJEAN Agathe" userId="3d6b4f36-572f-4048-8dcf-40f5dbb04ad3" providerId="ADAL" clId="{640C9A9F-B1BE-4A69-99F5-EAB9317E745F}" dt="2022-09-01T15:07:23.610" v="1400" actId="207"/>
          <ac:picMkLst>
            <pc:docMk/>
            <pc:sldMk cId="1049473465" sldId="1026"/>
            <ac:picMk id="18" creationId="{B8F1F911-22C6-41C8-98AD-490F1DD4E03A}"/>
          </ac:picMkLst>
        </pc:picChg>
        <pc:picChg chg="add mod">
          <ac:chgData name="GRANDJEAN Agathe" userId="3d6b4f36-572f-4048-8dcf-40f5dbb04ad3" providerId="ADAL" clId="{640C9A9F-B1BE-4A69-99F5-EAB9317E745F}" dt="2022-09-01T15:08:05.815" v="1402" actId="207"/>
          <ac:picMkLst>
            <pc:docMk/>
            <pc:sldMk cId="1049473465" sldId="1026"/>
            <ac:picMk id="19" creationId="{74C52457-EAC5-4190-9841-ED5505FD07FF}"/>
          </ac:picMkLst>
        </pc:picChg>
        <pc:picChg chg="add mod">
          <ac:chgData name="GRANDJEAN Agathe" userId="3d6b4f36-572f-4048-8dcf-40f5dbb04ad3" providerId="ADAL" clId="{640C9A9F-B1BE-4A69-99F5-EAB9317E745F}" dt="2022-09-01T15:08:05.815" v="1402" actId="207"/>
          <ac:picMkLst>
            <pc:docMk/>
            <pc:sldMk cId="1049473465" sldId="1026"/>
            <ac:picMk id="21" creationId="{EDE2DFBE-ECD0-412C-8ED5-24AA87A91E1D}"/>
          </ac:picMkLst>
        </pc:picChg>
        <pc:picChg chg="add mod">
          <ac:chgData name="GRANDJEAN Agathe" userId="3d6b4f36-572f-4048-8dcf-40f5dbb04ad3" providerId="ADAL" clId="{640C9A9F-B1BE-4A69-99F5-EAB9317E745F}" dt="2022-09-01T15:07:23.610" v="1400" actId="207"/>
          <ac:picMkLst>
            <pc:docMk/>
            <pc:sldMk cId="1049473465" sldId="1026"/>
            <ac:picMk id="27" creationId="{6325A487-3A1B-42D1-BC46-0E6571FCDB97}"/>
          </ac:picMkLst>
        </pc:picChg>
        <pc:picChg chg="add mod">
          <ac:chgData name="GRANDJEAN Agathe" userId="3d6b4f36-572f-4048-8dcf-40f5dbb04ad3" providerId="ADAL" clId="{640C9A9F-B1BE-4A69-99F5-EAB9317E745F}" dt="2022-09-01T15:07:23.610" v="1400" actId="207"/>
          <ac:picMkLst>
            <pc:docMk/>
            <pc:sldMk cId="1049473465" sldId="1026"/>
            <ac:picMk id="30" creationId="{F11A38C1-4F9E-4362-B2D9-EEA52CAD0331}"/>
          </ac:picMkLst>
        </pc:picChg>
        <pc:cxnChg chg="add del">
          <ac:chgData name="GRANDJEAN Agathe" userId="3d6b4f36-572f-4048-8dcf-40f5dbb04ad3" providerId="ADAL" clId="{640C9A9F-B1BE-4A69-99F5-EAB9317E745F}" dt="2022-09-01T15:01:19.326" v="1216" actId="478"/>
          <ac:cxnSpMkLst>
            <pc:docMk/>
            <pc:sldMk cId="1049473465" sldId="1026"/>
            <ac:cxnSpMk id="11" creationId="{9550914F-F6B6-4497-80B4-BAF4D4831033}"/>
          </ac:cxnSpMkLst>
        </pc:cxnChg>
        <pc:cxnChg chg="add del">
          <ac:chgData name="GRANDJEAN Agathe" userId="3d6b4f36-572f-4048-8dcf-40f5dbb04ad3" providerId="ADAL" clId="{640C9A9F-B1BE-4A69-99F5-EAB9317E745F}" dt="2022-09-01T15:01:19.326" v="1216" actId="478"/>
          <ac:cxnSpMkLst>
            <pc:docMk/>
            <pc:sldMk cId="1049473465" sldId="1026"/>
            <ac:cxnSpMk id="12" creationId="{8B78C7D9-2733-4111-91BA-1EF3C69B0F5C}"/>
          </ac:cxnSpMkLst>
        </pc:cxnChg>
        <pc:cxnChg chg="add mod">
          <ac:chgData name="GRANDJEAN Agathe" userId="3d6b4f36-572f-4048-8dcf-40f5dbb04ad3" providerId="ADAL" clId="{640C9A9F-B1BE-4A69-99F5-EAB9317E745F}" dt="2022-09-01T15:04:00.696" v="1275" actId="1076"/>
          <ac:cxnSpMkLst>
            <pc:docMk/>
            <pc:sldMk cId="1049473465" sldId="1026"/>
            <ac:cxnSpMk id="20" creationId="{C9057E96-33D1-409A-BC3B-C076E9FD0694}"/>
          </ac:cxnSpMkLst>
        </pc:cxnChg>
        <pc:cxnChg chg="add mod">
          <ac:chgData name="GRANDJEAN Agathe" userId="3d6b4f36-572f-4048-8dcf-40f5dbb04ad3" providerId="ADAL" clId="{640C9A9F-B1BE-4A69-99F5-EAB9317E745F}" dt="2022-09-01T15:04:00.696" v="1275" actId="1076"/>
          <ac:cxnSpMkLst>
            <pc:docMk/>
            <pc:sldMk cId="1049473465" sldId="1026"/>
            <ac:cxnSpMk id="23" creationId="{487FA5E4-00FB-4B73-A4B2-C45EFECB0B1C}"/>
          </ac:cxnSpMkLst>
        </pc:cxnChg>
        <pc:cxnChg chg="add mod">
          <ac:chgData name="GRANDJEAN Agathe" userId="3d6b4f36-572f-4048-8dcf-40f5dbb04ad3" providerId="ADAL" clId="{640C9A9F-B1BE-4A69-99F5-EAB9317E745F}" dt="2022-09-01T15:04:00.696" v="1275" actId="1076"/>
          <ac:cxnSpMkLst>
            <pc:docMk/>
            <pc:sldMk cId="1049473465" sldId="1026"/>
            <ac:cxnSpMk id="24" creationId="{A369A925-370F-4EBB-AFCC-0EB5CC3F228A}"/>
          </ac:cxnSpMkLst>
        </pc:cxnChg>
        <pc:cxnChg chg="add">
          <ac:chgData name="GRANDJEAN Agathe" userId="3d6b4f36-572f-4048-8dcf-40f5dbb04ad3" providerId="ADAL" clId="{640C9A9F-B1BE-4A69-99F5-EAB9317E745F}" dt="2022-09-01T15:01:58.703" v="1217"/>
          <ac:cxnSpMkLst>
            <pc:docMk/>
            <pc:sldMk cId="1049473465" sldId="1026"/>
            <ac:cxnSpMk id="25" creationId="{170B568D-7FAF-4A83-B3DD-93D87F60C39D}"/>
          </ac:cxnSpMkLst>
        </pc:cxnChg>
        <pc:cxnChg chg="add">
          <ac:chgData name="GRANDJEAN Agathe" userId="3d6b4f36-572f-4048-8dcf-40f5dbb04ad3" providerId="ADAL" clId="{640C9A9F-B1BE-4A69-99F5-EAB9317E745F}" dt="2022-09-01T15:01:58.703" v="1217"/>
          <ac:cxnSpMkLst>
            <pc:docMk/>
            <pc:sldMk cId="1049473465" sldId="1026"/>
            <ac:cxnSpMk id="26" creationId="{FB908560-0C6D-45E5-943A-CA4CEC52A479}"/>
          </ac:cxnSpMkLst>
        </pc:cxnChg>
        <pc:cxnChg chg="add">
          <ac:chgData name="GRANDJEAN Agathe" userId="3d6b4f36-572f-4048-8dcf-40f5dbb04ad3" providerId="ADAL" clId="{640C9A9F-B1BE-4A69-99F5-EAB9317E745F}" dt="2022-09-01T15:02:12.485" v="1218"/>
          <ac:cxnSpMkLst>
            <pc:docMk/>
            <pc:sldMk cId="1049473465" sldId="1026"/>
            <ac:cxnSpMk id="29" creationId="{DDBAD82C-8318-4CEA-838E-6323FCBB2A83}"/>
          </ac:cxnSpMkLst>
        </pc:cxnChg>
        <pc:cxnChg chg="add">
          <ac:chgData name="GRANDJEAN Agathe" userId="3d6b4f36-572f-4048-8dcf-40f5dbb04ad3" providerId="ADAL" clId="{640C9A9F-B1BE-4A69-99F5-EAB9317E745F}" dt="2022-09-01T15:02:58.827" v="1248"/>
          <ac:cxnSpMkLst>
            <pc:docMk/>
            <pc:sldMk cId="1049473465" sldId="1026"/>
            <ac:cxnSpMk id="32" creationId="{9BBC9FFE-87E9-46E4-8A30-4F88F3F21689}"/>
          </ac:cxnSpMkLst>
        </pc:cxnChg>
      </pc:sldChg>
      <pc:sldChg chg="addSp delSp modSp add delAnim modAnim">
        <pc:chgData name="GRANDJEAN Agathe" userId="3d6b4f36-572f-4048-8dcf-40f5dbb04ad3" providerId="ADAL" clId="{640C9A9F-B1BE-4A69-99F5-EAB9317E745F}" dt="2022-09-01T15:20:37.873" v="1824" actId="207"/>
        <pc:sldMkLst>
          <pc:docMk/>
          <pc:sldMk cId="2844775430" sldId="1027"/>
        </pc:sldMkLst>
        <pc:spChg chg="add del">
          <ac:chgData name="GRANDJEAN Agathe" userId="3d6b4f36-572f-4048-8dcf-40f5dbb04ad3" providerId="ADAL" clId="{640C9A9F-B1BE-4A69-99F5-EAB9317E745F}" dt="2022-09-01T15:15:53.278" v="1760"/>
          <ac:spMkLst>
            <pc:docMk/>
            <pc:sldMk cId="2844775430" sldId="1027"/>
            <ac:spMk id="2" creationId="{00145F0B-97C2-4070-9FF1-3D6F820E0C99}"/>
          </ac:spMkLst>
        </pc:spChg>
        <pc:spChg chg="mod">
          <ac:chgData name="GRANDJEAN Agathe" userId="3d6b4f36-572f-4048-8dcf-40f5dbb04ad3" providerId="ADAL" clId="{640C9A9F-B1BE-4A69-99F5-EAB9317E745F}" dt="2022-09-01T15:14:12.207" v="1736" actId="20577"/>
          <ac:spMkLst>
            <pc:docMk/>
            <pc:sldMk cId="2844775430" sldId="1027"/>
            <ac:spMk id="5" creationId="{7FECE53A-9267-D842-B87E-F184AF518E9F}"/>
          </ac:spMkLst>
        </pc:spChg>
        <pc:spChg chg="mod">
          <ac:chgData name="GRANDJEAN Agathe" userId="3d6b4f36-572f-4048-8dcf-40f5dbb04ad3" providerId="ADAL" clId="{640C9A9F-B1BE-4A69-99F5-EAB9317E745F}" dt="2022-09-01T15:15:00.655" v="1747" actId="20577"/>
          <ac:spMkLst>
            <pc:docMk/>
            <pc:sldMk cId="2844775430" sldId="1027"/>
            <ac:spMk id="11" creationId="{84DDC340-B9C0-1847-A7AE-EC51DE106AFF}"/>
          </ac:spMkLst>
        </pc:spChg>
        <pc:spChg chg="mod">
          <ac:chgData name="GRANDJEAN Agathe" userId="3d6b4f36-572f-4048-8dcf-40f5dbb04ad3" providerId="ADAL" clId="{640C9A9F-B1BE-4A69-99F5-EAB9317E745F}" dt="2022-09-01T15:19:58.135" v="1819" actId="20577"/>
          <ac:spMkLst>
            <pc:docMk/>
            <pc:sldMk cId="2844775430" sldId="1027"/>
            <ac:spMk id="19" creationId="{E6A5C350-FAA7-5348-9BD1-D8C4BA8FEF50}"/>
          </ac:spMkLst>
        </pc:spChg>
        <pc:spChg chg="mod">
          <ac:chgData name="GRANDJEAN Agathe" userId="3d6b4f36-572f-4048-8dcf-40f5dbb04ad3" providerId="ADAL" clId="{640C9A9F-B1BE-4A69-99F5-EAB9317E745F}" dt="2022-09-01T15:11:36.195" v="1619" actId="20577"/>
          <ac:spMkLst>
            <pc:docMk/>
            <pc:sldMk cId="2844775430" sldId="1027"/>
            <ac:spMk id="20" creationId="{E96D9089-B190-8E4B-9563-6CE8F2EA5B2A}"/>
          </ac:spMkLst>
        </pc:spChg>
        <pc:spChg chg="del">
          <ac:chgData name="GRANDJEAN Agathe" userId="3d6b4f36-572f-4048-8dcf-40f5dbb04ad3" providerId="ADAL" clId="{640C9A9F-B1BE-4A69-99F5-EAB9317E745F}" dt="2022-09-01T15:15:46.709" v="1757" actId="478"/>
          <ac:spMkLst>
            <pc:docMk/>
            <pc:sldMk cId="2844775430" sldId="1027"/>
            <ac:spMk id="27" creationId="{2ED879FC-1F72-5641-A57C-8628C08A4301}"/>
          </ac:spMkLst>
        </pc:spChg>
        <pc:spChg chg="mod">
          <ac:chgData name="GRANDJEAN Agathe" userId="3d6b4f36-572f-4048-8dcf-40f5dbb04ad3" providerId="ADAL" clId="{640C9A9F-B1BE-4A69-99F5-EAB9317E745F}" dt="2022-09-01T15:16:35.417" v="1773" actId="1076"/>
          <ac:spMkLst>
            <pc:docMk/>
            <pc:sldMk cId="2844775430" sldId="1027"/>
            <ac:spMk id="30" creationId="{F85DFF55-B0D9-CE46-99C1-E5B064BA5A44}"/>
          </ac:spMkLst>
        </pc:spChg>
        <pc:spChg chg="mod">
          <ac:chgData name="GRANDJEAN Agathe" userId="3d6b4f36-572f-4048-8dcf-40f5dbb04ad3" providerId="ADAL" clId="{640C9A9F-B1BE-4A69-99F5-EAB9317E745F}" dt="2022-09-01T15:16:03.128" v="1763" actId="1076"/>
          <ac:spMkLst>
            <pc:docMk/>
            <pc:sldMk cId="2844775430" sldId="1027"/>
            <ac:spMk id="32" creationId="{9A09367C-AB4E-9B4B-A050-AF0969BDF2A2}"/>
          </ac:spMkLst>
        </pc:spChg>
        <pc:spChg chg="mod">
          <ac:chgData name="GRANDJEAN Agathe" userId="3d6b4f36-572f-4048-8dcf-40f5dbb04ad3" providerId="ADAL" clId="{640C9A9F-B1BE-4A69-99F5-EAB9317E745F}" dt="2022-09-01T15:12:34.395" v="1668" actId="108"/>
          <ac:spMkLst>
            <pc:docMk/>
            <pc:sldMk cId="2844775430" sldId="1027"/>
            <ac:spMk id="33" creationId="{73F32CBB-469C-8E48-A0BC-555EF619563B}"/>
          </ac:spMkLst>
        </pc:spChg>
        <pc:spChg chg="mod">
          <ac:chgData name="GRANDJEAN Agathe" userId="3d6b4f36-572f-4048-8dcf-40f5dbb04ad3" providerId="ADAL" clId="{640C9A9F-B1BE-4A69-99F5-EAB9317E745F}" dt="2022-09-01T15:19:29.780" v="1800" actId="1076"/>
          <ac:spMkLst>
            <pc:docMk/>
            <pc:sldMk cId="2844775430" sldId="1027"/>
            <ac:spMk id="38" creationId="{21705CD0-9CE1-5349-9D8E-1757F6606EF1}"/>
          </ac:spMkLst>
        </pc:spChg>
        <pc:spChg chg="mod">
          <ac:chgData name="GRANDJEAN Agathe" userId="3d6b4f36-572f-4048-8dcf-40f5dbb04ad3" providerId="ADAL" clId="{640C9A9F-B1BE-4A69-99F5-EAB9317E745F}" dt="2022-09-01T15:19:29.780" v="1800" actId="1076"/>
          <ac:spMkLst>
            <pc:docMk/>
            <pc:sldMk cId="2844775430" sldId="1027"/>
            <ac:spMk id="40" creationId="{60503D91-63A1-BB4B-882C-38C690F13B5D}"/>
          </ac:spMkLst>
        </pc:spChg>
        <pc:spChg chg="del">
          <ac:chgData name="GRANDJEAN Agathe" userId="3d6b4f36-572f-4048-8dcf-40f5dbb04ad3" providerId="ADAL" clId="{640C9A9F-B1BE-4A69-99F5-EAB9317E745F}" dt="2022-09-01T15:17:37.266" v="1781" actId="478"/>
          <ac:spMkLst>
            <pc:docMk/>
            <pc:sldMk cId="2844775430" sldId="1027"/>
            <ac:spMk id="45" creationId="{0C8386EA-972D-824D-BFDE-6F660E0D6A8F}"/>
          </ac:spMkLst>
        </pc:spChg>
        <pc:spChg chg="del">
          <ac:chgData name="GRANDJEAN Agathe" userId="3d6b4f36-572f-4048-8dcf-40f5dbb04ad3" providerId="ADAL" clId="{640C9A9F-B1BE-4A69-99F5-EAB9317E745F}" dt="2022-09-01T15:17:19.450" v="1776" actId="478"/>
          <ac:spMkLst>
            <pc:docMk/>
            <pc:sldMk cId="2844775430" sldId="1027"/>
            <ac:spMk id="47" creationId="{0CFF1CFD-A490-E444-A837-4D838BA56DD4}"/>
          </ac:spMkLst>
        </pc:spChg>
        <pc:spChg chg="mod">
          <ac:chgData name="GRANDJEAN Agathe" userId="3d6b4f36-572f-4048-8dcf-40f5dbb04ad3" providerId="ADAL" clId="{640C9A9F-B1BE-4A69-99F5-EAB9317E745F}" dt="2022-09-01T15:19:29.780" v="1800" actId="1076"/>
          <ac:spMkLst>
            <pc:docMk/>
            <pc:sldMk cId="2844775430" sldId="1027"/>
            <ac:spMk id="50" creationId="{18AFAE81-73AE-0044-82E4-654FBE2F8727}"/>
          </ac:spMkLst>
        </pc:spChg>
        <pc:spChg chg="add mod">
          <ac:chgData name="GRANDJEAN Agathe" userId="3d6b4f36-572f-4048-8dcf-40f5dbb04ad3" providerId="ADAL" clId="{640C9A9F-B1BE-4A69-99F5-EAB9317E745F}" dt="2022-09-01T15:15:58.585" v="1762" actId="1076"/>
          <ac:spMkLst>
            <pc:docMk/>
            <pc:sldMk cId="2844775430" sldId="1027"/>
            <ac:spMk id="55" creationId="{0B8413ED-00F1-4931-9398-C3F08CF103D5}"/>
          </ac:spMkLst>
        </pc:spChg>
        <pc:picChg chg="mod">
          <ac:chgData name="GRANDJEAN Agathe" userId="3d6b4f36-572f-4048-8dcf-40f5dbb04ad3" providerId="ADAL" clId="{640C9A9F-B1BE-4A69-99F5-EAB9317E745F}" dt="2022-09-01T15:20:37.873" v="1824" actId="207"/>
          <ac:picMkLst>
            <pc:docMk/>
            <pc:sldMk cId="2844775430" sldId="1027"/>
            <ac:picMk id="8" creationId="{348472CE-1F5D-F642-8997-DCFF67A1DF96}"/>
          </ac:picMkLst>
        </pc:picChg>
        <pc:picChg chg="mod">
          <ac:chgData name="GRANDJEAN Agathe" userId="3d6b4f36-572f-4048-8dcf-40f5dbb04ad3" providerId="ADAL" clId="{640C9A9F-B1BE-4A69-99F5-EAB9317E745F}" dt="2022-09-01T15:20:03.495" v="1820" actId="207"/>
          <ac:picMkLst>
            <pc:docMk/>
            <pc:sldMk cId="2844775430" sldId="1027"/>
            <ac:picMk id="10" creationId="{B3250BA7-5B01-FC4B-B0A3-93BB6BD75526}"/>
          </ac:picMkLst>
        </pc:picChg>
        <pc:picChg chg="mod">
          <ac:chgData name="GRANDJEAN Agathe" userId="3d6b4f36-572f-4048-8dcf-40f5dbb04ad3" providerId="ADAL" clId="{640C9A9F-B1BE-4A69-99F5-EAB9317E745F}" dt="2022-09-01T15:20:08.474" v="1822" actId="207"/>
          <ac:picMkLst>
            <pc:docMk/>
            <pc:sldMk cId="2844775430" sldId="1027"/>
            <ac:picMk id="22" creationId="{90CDF5B2-0475-E34F-A2CA-C4A1DFEF6019}"/>
          </ac:picMkLst>
        </pc:picChg>
        <pc:picChg chg="del">
          <ac:chgData name="GRANDJEAN Agathe" userId="3d6b4f36-572f-4048-8dcf-40f5dbb04ad3" providerId="ADAL" clId="{640C9A9F-B1BE-4A69-99F5-EAB9317E745F}" dt="2022-09-01T15:15:47.958" v="1758" actId="478"/>
          <ac:picMkLst>
            <pc:docMk/>
            <pc:sldMk cId="2844775430" sldId="1027"/>
            <ac:picMk id="26" creationId="{8F0470FC-CC73-0F43-ACFF-32D3B89289CC}"/>
          </ac:picMkLst>
        </pc:picChg>
        <pc:picChg chg="del">
          <ac:chgData name="GRANDJEAN Agathe" userId="3d6b4f36-572f-4048-8dcf-40f5dbb04ad3" providerId="ADAL" clId="{640C9A9F-B1BE-4A69-99F5-EAB9317E745F}" dt="2022-09-01T15:16:08.487" v="1764" actId="478"/>
          <ac:picMkLst>
            <pc:docMk/>
            <pc:sldMk cId="2844775430" sldId="1027"/>
            <ac:picMk id="29" creationId="{3EACE063-2DC5-EB47-BEFA-DA9844FA57F0}"/>
          </ac:picMkLst>
        </pc:picChg>
        <pc:picChg chg="mod">
          <ac:chgData name="GRANDJEAN Agathe" userId="3d6b4f36-572f-4048-8dcf-40f5dbb04ad3" providerId="ADAL" clId="{640C9A9F-B1BE-4A69-99F5-EAB9317E745F}" dt="2022-09-01T15:19:29.780" v="1800" actId="1076"/>
          <ac:picMkLst>
            <pc:docMk/>
            <pc:sldMk cId="2844775430" sldId="1027"/>
            <ac:picMk id="37" creationId="{FB0C27D1-2542-2242-83F1-BA384A041800}"/>
          </ac:picMkLst>
        </pc:picChg>
        <pc:picChg chg="mod">
          <ac:chgData name="GRANDJEAN Agathe" userId="3d6b4f36-572f-4048-8dcf-40f5dbb04ad3" providerId="ADAL" clId="{640C9A9F-B1BE-4A69-99F5-EAB9317E745F}" dt="2022-09-01T15:20:05.937" v="1821" actId="207"/>
          <ac:picMkLst>
            <pc:docMk/>
            <pc:sldMk cId="2844775430" sldId="1027"/>
            <ac:picMk id="39" creationId="{4E0DEDF5-3FB3-A545-A153-F13333514128}"/>
          </ac:picMkLst>
        </pc:picChg>
        <pc:picChg chg="del">
          <ac:chgData name="GRANDJEAN Agathe" userId="3d6b4f36-572f-4048-8dcf-40f5dbb04ad3" providerId="ADAL" clId="{640C9A9F-B1BE-4A69-99F5-EAB9317E745F}" dt="2022-09-01T15:17:35.111" v="1780" actId="478"/>
          <ac:picMkLst>
            <pc:docMk/>
            <pc:sldMk cId="2844775430" sldId="1027"/>
            <ac:picMk id="44" creationId="{511DB7C4-A566-AD42-A3E2-D4E8429A569A}"/>
          </ac:picMkLst>
        </pc:picChg>
        <pc:picChg chg="del mod">
          <ac:chgData name="GRANDJEAN Agathe" userId="3d6b4f36-572f-4048-8dcf-40f5dbb04ad3" providerId="ADAL" clId="{640C9A9F-B1BE-4A69-99F5-EAB9317E745F}" dt="2022-09-01T15:17:17.406" v="1775" actId="478"/>
          <ac:picMkLst>
            <pc:docMk/>
            <pc:sldMk cId="2844775430" sldId="1027"/>
            <ac:picMk id="46" creationId="{AC2D7199-9D43-774D-BDC2-91694FB43744}"/>
          </ac:picMkLst>
        </pc:picChg>
        <pc:picChg chg="add mod">
          <ac:chgData name="GRANDJEAN Agathe" userId="3d6b4f36-572f-4048-8dcf-40f5dbb04ad3" providerId="ADAL" clId="{640C9A9F-B1BE-4A69-99F5-EAB9317E745F}" dt="2022-09-01T15:20:37.873" v="1824" actId="207"/>
          <ac:picMkLst>
            <pc:docMk/>
            <pc:sldMk cId="2844775430" sldId="1027"/>
            <ac:picMk id="48" creationId="{16DA2FD6-D0FD-4C3E-8CD5-69C97F0A3ADC}"/>
          </ac:picMkLst>
        </pc:picChg>
        <pc:picChg chg="del">
          <ac:chgData name="GRANDJEAN Agathe" userId="3d6b4f36-572f-4048-8dcf-40f5dbb04ad3" providerId="ADAL" clId="{640C9A9F-B1BE-4A69-99F5-EAB9317E745F}" dt="2022-09-01T15:17:47.831" v="1784" actId="478"/>
          <ac:picMkLst>
            <pc:docMk/>
            <pc:sldMk cId="2844775430" sldId="1027"/>
            <ac:picMk id="49" creationId="{B2A9879D-CE87-4C4E-9E81-ACB6DE926E3C}"/>
          </ac:picMkLst>
        </pc:picChg>
        <pc:picChg chg="add mod">
          <ac:chgData name="GRANDJEAN Agathe" userId="3d6b4f36-572f-4048-8dcf-40f5dbb04ad3" providerId="ADAL" clId="{640C9A9F-B1BE-4A69-99F5-EAB9317E745F}" dt="2022-09-01T15:20:37.873" v="1824" actId="207"/>
          <ac:picMkLst>
            <pc:docMk/>
            <pc:sldMk cId="2844775430" sldId="1027"/>
            <ac:picMk id="53" creationId="{25B65B69-D632-4AA4-85D3-CA0C7FF88FE4}"/>
          </ac:picMkLst>
        </pc:picChg>
        <pc:picChg chg="add mod">
          <ac:chgData name="GRANDJEAN Agathe" userId="3d6b4f36-572f-4048-8dcf-40f5dbb04ad3" providerId="ADAL" clId="{640C9A9F-B1BE-4A69-99F5-EAB9317E745F}" dt="2022-09-01T15:15:58.585" v="1762" actId="1076"/>
          <ac:picMkLst>
            <pc:docMk/>
            <pc:sldMk cId="2844775430" sldId="1027"/>
            <ac:picMk id="54" creationId="{0FF84AEF-D640-4EB6-B48E-2676151E1FA0}"/>
          </ac:picMkLst>
        </pc:picChg>
        <pc:cxnChg chg="mod">
          <ac:chgData name="GRANDJEAN Agathe" userId="3d6b4f36-572f-4048-8dcf-40f5dbb04ad3" providerId="ADAL" clId="{640C9A9F-B1BE-4A69-99F5-EAB9317E745F}" dt="2022-09-01T15:15:47.958" v="1758" actId="478"/>
          <ac:cxnSpMkLst>
            <pc:docMk/>
            <pc:sldMk cId="2844775430" sldId="1027"/>
            <ac:cxnSpMk id="31" creationId="{FF4CE290-31F3-C547-8604-06DB2E6402A9}"/>
          </ac:cxnSpMkLst>
        </pc:cxnChg>
        <pc:cxnChg chg="del mod">
          <ac:chgData name="GRANDJEAN Agathe" userId="3d6b4f36-572f-4048-8dcf-40f5dbb04ad3" providerId="ADAL" clId="{640C9A9F-B1BE-4A69-99F5-EAB9317E745F}" dt="2022-09-01T15:17:30.385" v="1779" actId="478"/>
          <ac:cxnSpMkLst>
            <pc:docMk/>
            <pc:sldMk cId="2844775430" sldId="1027"/>
            <ac:cxnSpMk id="43" creationId="{D7994908-DF78-C746-AB18-B1D8155AB36E}"/>
          </ac:cxnSpMkLst>
        </pc:cxnChg>
        <pc:cxnChg chg="add del mod">
          <ac:chgData name="GRANDJEAN Agathe" userId="3d6b4f36-572f-4048-8dcf-40f5dbb04ad3" providerId="ADAL" clId="{640C9A9F-B1BE-4A69-99F5-EAB9317E745F}" dt="2022-09-01T15:19:02.734" v="1796" actId="478"/>
          <ac:cxnSpMkLst>
            <pc:docMk/>
            <pc:sldMk cId="2844775430" sldId="1027"/>
            <ac:cxnSpMk id="56" creationId="{460B56D7-8DD5-44B2-B9E5-9BD80CA3538C}"/>
          </ac:cxnSpMkLst>
        </pc:cxnChg>
        <pc:cxnChg chg="mod">
          <ac:chgData name="GRANDJEAN Agathe" userId="3d6b4f36-572f-4048-8dcf-40f5dbb04ad3" providerId="ADAL" clId="{640C9A9F-B1BE-4A69-99F5-EAB9317E745F}" dt="2022-09-01T15:19:29.780" v="1800" actId="1076"/>
          <ac:cxnSpMkLst>
            <pc:docMk/>
            <pc:sldMk cId="2844775430" sldId="1027"/>
            <ac:cxnSpMk id="102" creationId="{330D727D-8850-7B44-B53C-2C889306B47A}"/>
          </ac:cxnSpMkLst>
        </pc:cxnChg>
      </pc:sldChg>
      <pc:sldMasterChg chg="delSldLayout">
        <pc:chgData name="GRANDJEAN Agathe" userId="3d6b4f36-572f-4048-8dcf-40f5dbb04ad3" providerId="ADAL" clId="{640C9A9F-B1BE-4A69-99F5-EAB9317E745F}" dt="2022-09-01T14:56:44.376" v="1197" actId="2696"/>
        <pc:sldMasterMkLst>
          <pc:docMk/>
          <pc:sldMasterMk cId="998073652" sldId="2147483660"/>
        </pc:sldMasterMkLst>
        <pc:sldLayoutChg chg="del">
          <pc:chgData name="GRANDJEAN Agathe" userId="3d6b4f36-572f-4048-8dcf-40f5dbb04ad3" providerId="ADAL" clId="{640C9A9F-B1BE-4A69-99F5-EAB9317E745F}" dt="2022-09-01T14:56:44.376" v="1197" actId="2696"/>
          <pc:sldLayoutMkLst>
            <pc:docMk/>
            <pc:sldMasterMk cId="998073652" sldId="2147483660"/>
            <pc:sldLayoutMk cId="1402981088" sldId="2147483664"/>
          </pc:sldLayoutMkLst>
        </pc:sldLayoutChg>
        <pc:sldLayoutChg chg="del">
          <pc:chgData name="GRANDJEAN Agathe" userId="3d6b4f36-572f-4048-8dcf-40f5dbb04ad3" providerId="ADAL" clId="{640C9A9F-B1BE-4A69-99F5-EAB9317E745F}" dt="2022-09-01T13:13:30.058" v="7" actId="2696"/>
          <pc:sldLayoutMkLst>
            <pc:docMk/>
            <pc:sldMasterMk cId="998073652" sldId="2147483660"/>
            <pc:sldLayoutMk cId="3718918398" sldId="2147483667"/>
          </pc:sldLayoutMkLst>
        </pc:sldLayoutChg>
      </pc:sldMaster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AB4BD3D-FEA1-4337-B3F9-DA9866B1EB8B}" type="datetimeFigureOut">
              <a:rPr lang="fr-FR" smtClean="0"/>
              <a:t>20/01/2023</a:t>
            </a:fld>
            <a:endParaRPr lang="fr-FR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FR"/>
          </a:p>
        </p:txBody>
      </p:sp>
      <p:sp>
        <p:nvSpPr>
          <p:cNvPr id="5" name="Espace réservé des not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548E290-6195-4EE4-8A83-240346EBB167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18867549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Ellipse 40"/>
          <p:cNvSpPr/>
          <p:nvPr userDrawn="1"/>
        </p:nvSpPr>
        <p:spPr>
          <a:xfrm>
            <a:off x="423985" y="1530979"/>
            <a:ext cx="1993845" cy="1620000"/>
          </a:xfrm>
          <a:prstGeom prst="ellipse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9900" b="0" i="0" dirty="0">
              <a:latin typeface="Segoe UI" panose="020B0502040204020203" pitchFamily="34" charset="0"/>
            </a:endParaRPr>
          </a:p>
        </p:txBody>
      </p:sp>
      <p:sp>
        <p:nvSpPr>
          <p:cNvPr id="7" name="Espace réservé du texte 6">
            <a:extLst>
              <a:ext uri="{FF2B5EF4-FFF2-40B4-BE49-F238E27FC236}">
                <a16:creationId xmlns:a16="http://schemas.microsoft.com/office/drawing/2014/main" id="{FC9AC28E-FF58-4211-8DB7-15E672C7B30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69114" y="1319800"/>
            <a:ext cx="2303584" cy="1940756"/>
          </a:xfrm>
        </p:spPr>
        <p:txBody>
          <a:bodyPr wrap="none" tIns="0" bIns="0" anchor="ctr">
            <a:noAutofit/>
          </a:bodyPr>
          <a:lstStyle>
            <a:lvl1pPr algn="ctr">
              <a:defRPr sz="185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fr-FR" dirty="0"/>
              <a:t>N</a:t>
            </a:r>
          </a:p>
        </p:txBody>
      </p:sp>
      <p:cxnSp>
        <p:nvCxnSpPr>
          <p:cNvPr id="43" name="Connecteur droit 42"/>
          <p:cNvCxnSpPr>
            <a:cxnSpLocks/>
            <a:stCxn id="44" idx="2"/>
          </p:cNvCxnSpPr>
          <p:nvPr userDrawn="1"/>
        </p:nvCxnSpPr>
        <p:spPr>
          <a:xfrm>
            <a:off x="2811078" y="3630669"/>
            <a:ext cx="8956938" cy="0"/>
          </a:xfrm>
          <a:prstGeom prst="line">
            <a:avLst/>
          </a:prstGeom>
          <a:ln w="7620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Ellipse 43"/>
          <p:cNvSpPr/>
          <p:nvPr userDrawn="1"/>
        </p:nvSpPr>
        <p:spPr>
          <a:xfrm>
            <a:off x="2811078" y="3450669"/>
            <a:ext cx="443077" cy="360000"/>
          </a:xfrm>
          <a:prstGeom prst="ellipse">
            <a:avLst/>
          </a:prstGeom>
          <a:solidFill>
            <a:schemeClr val="bg1">
              <a:lumMod val="65000"/>
            </a:schemeClr>
          </a:solidFill>
          <a:ln w="28575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 b="0" i="0" dirty="0">
              <a:latin typeface="Segoe UI" panose="020B0502040204020203" pitchFamily="34" charset="0"/>
            </a:endParaRPr>
          </a:p>
        </p:txBody>
      </p:sp>
      <p:sp>
        <p:nvSpPr>
          <p:cNvPr id="16" name="Espace réservé de la date 3">
            <a:extLst>
              <a:ext uri="{FF2B5EF4-FFF2-40B4-BE49-F238E27FC236}">
                <a16:creationId xmlns:a16="http://schemas.microsoft.com/office/drawing/2014/main" id="{B91C5F77-F5BB-4753-B200-70E9F2477A2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615692" y="6407719"/>
            <a:ext cx="1301690" cy="301756"/>
          </a:xfrm>
          <a:prstGeom prst="rect">
            <a:avLst/>
          </a:prstGeom>
        </p:spPr>
        <p:txBody>
          <a:bodyPr anchor="ctr"/>
          <a:lstStyle>
            <a:lvl1pPr algn="ctr">
              <a:defRPr sz="11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fr-FR"/>
          </a:p>
        </p:txBody>
      </p:sp>
      <p:sp>
        <p:nvSpPr>
          <p:cNvPr id="18" name="Espace réservé du pied de page 4">
            <a:extLst>
              <a:ext uri="{FF2B5EF4-FFF2-40B4-BE49-F238E27FC236}">
                <a16:creationId xmlns:a16="http://schemas.microsoft.com/office/drawing/2014/main" id="{1FAE3667-EB04-45DD-B79A-6B681E86AA2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725663" y="6407719"/>
            <a:ext cx="6740676" cy="301756"/>
          </a:xfrm>
          <a:prstGeom prst="rect">
            <a:avLst/>
          </a:prstGeom>
        </p:spPr>
        <p:txBody>
          <a:bodyPr anchor="ctr"/>
          <a:lstStyle>
            <a:lvl1pPr algn="ctr">
              <a:defRPr sz="11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fr-FR"/>
              <a:t>Restitution concertation gestion en flux - 27 janvier 2021</a:t>
            </a:r>
            <a:endParaRPr lang="fr-FR" dirty="0"/>
          </a:p>
        </p:txBody>
      </p:sp>
      <p:sp>
        <p:nvSpPr>
          <p:cNvPr id="19" name="Espace réservé du numéro de diapositive 5">
            <a:extLst>
              <a:ext uri="{FF2B5EF4-FFF2-40B4-BE49-F238E27FC236}">
                <a16:creationId xmlns:a16="http://schemas.microsoft.com/office/drawing/2014/main" id="{EC5745F2-CAB9-4626-9D96-F502EE4C6BB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074448" y="6407719"/>
            <a:ext cx="693568" cy="301756"/>
          </a:xfrm>
          <a:prstGeom prst="rect">
            <a:avLst/>
          </a:prstGeom>
        </p:spPr>
        <p:txBody>
          <a:bodyPr rIns="0" anchor="ctr"/>
          <a:lstStyle>
            <a:lvl1pPr algn="r">
              <a:defRPr sz="1100" b="0">
                <a:solidFill>
                  <a:schemeClr val="tx2"/>
                </a:solidFill>
              </a:defRPr>
            </a:lvl1pPr>
          </a:lstStyle>
          <a:p>
            <a:fld id="{5B4B94EB-EA19-4609-98BF-9B9B2F674865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59EF9614-203D-4271-8B2C-A7F036E6661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11079" y="1370600"/>
            <a:ext cx="8956938" cy="1940756"/>
          </a:xfrm>
          <a:prstGeom prst="rect">
            <a:avLst/>
          </a:prstGeom>
        </p:spPr>
        <p:txBody>
          <a:bodyPr lIns="0" rIns="0" anchor="ctr"/>
          <a:lstStyle>
            <a:lvl1pPr>
              <a:defRPr sz="5400" b="0">
                <a:solidFill>
                  <a:schemeClr val="tx2"/>
                </a:solidFill>
              </a:defRPr>
            </a:lvl1pPr>
          </a:lstStyle>
          <a:p>
            <a:r>
              <a:rPr lang="fr-FR" dirty="0"/>
              <a:t>Modifiez le style du titre</a:t>
            </a:r>
          </a:p>
        </p:txBody>
      </p:sp>
    </p:spTree>
    <p:extLst>
      <p:ext uri="{BB962C8B-B14F-4D97-AF65-F5344CB8AC3E}">
        <p14:creationId xmlns:p14="http://schemas.microsoft.com/office/powerpoint/2010/main" val="2135725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us Brea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Ellipse 40"/>
          <p:cNvSpPr/>
          <p:nvPr userDrawn="1"/>
        </p:nvSpPr>
        <p:spPr>
          <a:xfrm>
            <a:off x="423985" y="1530979"/>
            <a:ext cx="1993845" cy="1620000"/>
          </a:xfrm>
          <a:prstGeom prst="ellipse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9900" b="0" i="0" dirty="0">
              <a:latin typeface="Segoe UI" panose="020B0502040204020203" pitchFamily="34" charset="0"/>
            </a:endParaRPr>
          </a:p>
        </p:txBody>
      </p:sp>
      <p:cxnSp>
        <p:nvCxnSpPr>
          <p:cNvPr id="43" name="Connecteur droit 42"/>
          <p:cNvCxnSpPr>
            <a:cxnSpLocks/>
            <a:stCxn id="44" idx="2"/>
          </p:cNvCxnSpPr>
          <p:nvPr userDrawn="1"/>
        </p:nvCxnSpPr>
        <p:spPr>
          <a:xfrm>
            <a:off x="2811078" y="3630669"/>
            <a:ext cx="8956938" cy="0"/>
          </a:xfrm>
          <a:prstGeom prst="line">
            <a:avLst/>
          </a:prstGeom>
          <a:ln w="7620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Ellipse 43"/>
          <p:cNvSpPr/>
          <p:nvPr userDrawn="1"/>
        </p:nvSpPr>
        <p:spPr>
          <a:xfrm>
            <a:off x="2811078" y="3450669"/>
            <a:ext cx="443077" cy="360000"/>
          </a:xfrm>
          <a:prstGeom prst="ellipse">
            <a:avLst/>
          </a:prstGeom>
          <a:solidFill>
            <a:schemeClr val="bg1">
              <a:lumMod val="65000"/>
            </a:schemeClr>
          </a:solidFill>
          <a:ln w="28575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 b="0" i="0" dirty="0">
              <a:latin typeface="Segoe UI" panose="020B0502040204020203" pitchFamily="34" charset="0"/>
            </a:endParaRPr>
          </a:p>
        </p:txBody>
      </p:sp>
      <p:sp>
        <p:nvSpPr>
          <p:cNvPr id="16" name="Espace réservé de la date 3">
            <a:extLst>
              <a:ext uri="{FF2B5EF4-FFF2-40B4-BE49-F238E27FC236}">
                <a16:creationId xmlns:a16="http://schemas.microsoft.com/office/drawing/2014/main" id="{B91C5F77-F5BB-4753-B200-70E9F2477A2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615692" y="6407719"/>
            <a:ext cx="1301690" cy="301756"/>
          </a:xfrm>
          <a:prstGeom prst="rect">
            <a:avLst/>
          </a:prstGeom>
        </p:spPr>
        <p:txBody>
          <a:bodyPr anchor="ctr"/>
          <a:lstStyle>
            <a:lvl1pPr algn="ctr">
              <a:defRPr sz="11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fr-FR"/>
          </a:p>
        </p:txBody>
      </p:sp>
      <p:sp>
        <p:nvSpPr>
          <p:cNvPr id="18" name="Espace réservé du pied de page 4">
            <a:extLst>
              <a:ext uri="{FF2B5EF4-FFF2-40B4-BE49-F238E27FC236}">
                <a16:creationId xmlns:a16="http://schemas.microsoft.com/office/drawing/2014/main" id="{1FAE3667-EB04-45DD-B79A-6B681E86AA2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725663" y="6407719"/>
            <a:ext cx="6740676" cy="301756"/>
          </a:xfrm>
          <a:prstGeom prst="rect">
            <a:avLst/>
          </a:prstGeom>
        </p:spPr>
        <p:txBody>
          <a:bodyPr anchor="ctr"/>
          <a:lstStyle>
            <a:lvl1pPr algn="ctr">
              <a:defRPr sz="11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fr-FR"/>
              <a:t>Restitution concertation gestion en flux - 27 janvier 2021</a:t>
            </a:r>
            <a:endParaRPr lang="fr-FR" dirty="0"/>
          </a:p>
        </p:txBody>
      </p:sp>
      <p:sp>
        <p:nvSpPr>
          <p:cNvPr id="19" name="Espace réservé du numéro de diapositive 5">
            <a:extLst>
              <a:ext uri="{FF2B5EF4-FFF2-40B4-BE49-F238E27FC236}">
                <a16:creationId xmlns:a16="http://schemas.microsoft.com/office/drawing/2014/main" id="{EC5745F2-CAB9-4626-9D96-F502EE4C6BB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074448" y="6407719"/>
            <a:ext cx="693568" cy="301756"/>
          </a:xfrm>
          <a:prstGeom prst="rect">
            <a:avLst/>
          </a:prstGeom>
        </p:spPr>
        <p:txBody>
          <a:bodyPr rIns="0" anchor="ctr"/>
          <a:lstStyle>
            <a:lvl1pPr algn="r">
              <a:defRPr sz="1100" b="0">
                <a:solidFill>
                  <a:schemeClr val="tx2"/>
                </a:solidFill>
              </a:defRPr>
            </a:lvl1pPr>
          </a:lstStyle>
          <a:p>
            <a:fld id="{5B4B94EB-EA19-4609-98BF-9B9B2F674865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17" name="Titre 1">
            <a:extLst>
              <a:ext uri="{FF2B5EF4-FFF2-40B4-BE49-F238E27FC236}">
                <a16:creationId xmlns:a16="http://schemas.microsoft.com/office/drawing/2014/main" id="{0EC17E42-C6A4-4610-86CE-80A9BA247F8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11079" y="1370600"/>
            <a:ext cx="8956938" cy="1940756"/>
          </a:xfrm>
          <a:prstGeom prst="rect">
            <a:avLst/>
          </a:prstGeom>
        </p:spPr>
        <p:txBody>
          <a:bodyPr lIns="0" rIns="0" anchor="ctr"/>
          <a:lstStyle>
            <a:lvl1pPr>
              <a:defRPr sz="5400" b="0">
                <a:solidFill>
                  <a:schemeClr val="tx2"/>
                </a:solidFill>
              </a:defRPr>
            </a:lvl1pPr>
          </a:lstStyle>
          <a:p>
            <a:r>
              <a:rPr lang="fr-FR" dirty="0"/>
              <a:t>Modifiez le style du titre</a:t>
            </a:r>
          </a:p>
        </p:txBody>
      </p:sp>
      <p:sp>
        <p:nvSpPr>
          <p:cNvPr id="14" name="Espace réservé du texte 6">
            <a:extLst>
              <a:ext uri="{FF2B5EF4-FFF2-40B4-BE49-F238E27FC236}">
                <a16:creationId xmlns:a16="http://schemas.microsoft.com/office/drawing/2014/main" id="{4221483C-3533-46D8-82BC-A602659DA79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69114" y="1319800"/>
            <a:ext cx="2303584" cy="1940756"/>
          </a:xfrm>
        </p:spPr>
        <p:txBody>
          <a:bodyPr wrap="none" tIns="0" bIns="0" anchor="ctr">
            <a:noAutofit/>
          </a:bodyPr>
          <a:lstStyle>
            <a:lvl1pPr algn="ctr">
              <a:defRPr sz="185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fr-FR" dirty="0"/>
              <a:t>N</a:t>
            </a:r>
          </a:p>
        </p:txBody>
      </p:sp>
      <p:sp>
        <p:nvSpPr>
          <p:cNvPr id="20" name="Sous-titre 2">
            <a:extLst>
              <a:ext uri="{FF2B5EF4-FFF2-40B4-BE49-F238E27FC236}">
                <a16:creationId xmlns:a16="http://schemas.microsoft.com/office/drawing/2014/main" id="{ACF5DA5A-DA6B-4BC8-A9DF-BB9B9D051E4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811078" y="4257579"/>
            <a:ext cx="8956938" cy="1141339"/>
          </a:xfrm>
          <a:prstGeom prst="rect">
            <a:avLst/>
          </a:prstGeom>
        </p:spPr>
        <p:txBody>
          <a:bodyPr lIns="0" anchor="ctr">
            <a:normAutofit/>
          </a:bodyPr>
          <a:lstStyle>
            <a:lvl1pPr marL="0" indent="0" algn="l">
              <a:buNone/>
              <a:defRPr sz="32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/>
              <a:t>Modifiez le style des sous-titres du masque</a:t>
            </a:r>
          </a:p>
        </p:txBody>
      </p:sp>
    </p:spTree>
    <p:extLst>
      <p:ext uri="{BB962C8B-B14F-4D97-AF65-F5344CB8AC3E}">
        <p14:creationId xmlns:p14="http://schemas.microsoft.com/office/powerpoint/2010/main" val="274765626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955" y="1588"/>
          <a:ext cx="1954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5" name="Diapositive think-cell" r:id="rId5" imgW="216" imgH="216" progId="TCLayout.ActiveDocument.1">
                  <p:embed/>
                </p:oleObj>
              </mc:Choice>
              <mc:Fallback>
                <p:oleObj name="Diapositive think-cell" r:id="rId5" imgW="216" imgH="216" progId="TCLayout.ActiveDocument.1">
                  <p:embed/>
                  <p:pic>
                    <p:nvPicPr>
                      <p:cNvPr id="5" name="Obje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955" y="1588"/>
                        <a:ext cx="1954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95385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fr-FR" sz="1600" b="0" i="0" baseline="0" dirty="0">
              <a:latin typeface="Segoe UI" panose="020B0502040204020203" pitchFamily="34" charset="0"/>
              <a:ea typeface="+mj-ea"/>
              <a:cs typeface="+mj-cs"/>
              <a:sym typeface="Arial"/>
            </a:endParaRPr>
          </a:p>
        </p:txBody>
      </p:sp>
      <p:sp>
        <p:nvSpPr>
          <p:cNvPr id="16" name="Espace réservé de la date 3">
            <a:extLst>
              <a:ext uri="{FF2B5EF4-FFF2-40B4-BE49-F238E27FC236}">
                <a16:creationId xmlns:a16="http://schemas.microsoft.com/office/drawing/2014/main" id="{B91C5F77-F5BB-4753-B200-70E9F2477A2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615692" y="6407719"/>
            <a:ext cx="1301690" cy="301756"/>
          </a:xfrm>
          <a:prstGeom prst="rect">
            <a:avLst/>
          </a:prstGeom>
        </p:spPr>
        <p:txBody>
          <a:bodyPr anchor="ctr"/>
          <a:lstStyle>
            <a:lvl1pPr algn="ctr">
              <a:defRPr sz="11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fr-FR"/>
          </a:p>
        </p:txBody>
      </p:sp>
      <p:sp>
        <p:nvSpPr>
          <p:cNvPr id="18" name="Espace réservé du pied de page 4">
            <a:extLst>
              <a:ext uri="{FF2B5EF4-FFF2-40B4-BE49-F238E27FC236}">
                <a16:creationId xmlns:a16="http://schemas.microsoft.com/office/drawing/2014/main" id="{1FAE3667-EB04-45DD-B79A-6B681E86AA2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725663" y="6407719"/>
            <a:ext cx="6740676" cy="301756"/>
          </a:xfrm>
          <a:prstGeom prst="rect">
            <a:avLst/>
          </a:prstGeom>
        </p:spPr>
        <p:txBody>
          <a:bodyPr anchor="ctr"/>
          <a:lstStyle>
            <a:lvl1pPr algn="ctr">
              <a:defRPr sz="11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fr-FR"/>
              <a:t>Restitution concertation gestion en flux - 27 janvier 2021</a:t>
            </a:r>
            <a:endParaRPr lang="fr-FR" dirty="0"/>
          </a:p>
        </p:txBody>
      </p:sp>
      <p:sp>
        <p:nvSpPr>
          <p:cNvPr id="19" name="Espace réservé du numéro de diapositive 5">
            <a:extLst>
              <a:ext uri="{FF2B5EF4-FFF2-40B4-BE49-F238E27FC236}">
                <a16:creationId xmlns:a16="http://schemas.microsoft.com/office/drawing/2014/main" id="{EC5745F2-CAB9-4626-9D96-F502EE4C6BB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074448" y="6407719"/>
            <a:ext cx="693568" cy="301756"/>
          </a:xfrm>
          <a:prstGeom prst="rect">
            <a:avLst/>
          </a:prstGeom>
        </p:spPr>
        <p:txBody>
          <a:bodyPr rIns="0" anchor="ctr"/>
          <a:lstStyle>
            <a:lvl1pPr algn="r">
              <a:defRPr sz="1100" b="0">
                <a:solidFill>
                  <a:schemeClr val="tx2"/>
                </a:solidFill>
              </a:defRPr>
            </a:lvl1pPr>
          </a:lstStyle>
          <a:p>
            <a:fld id="{5B4B94EB-EA19-4609-98BF-9B9B2F674865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86E3F56A-B978-4FC8-BBBC-E2513A5493A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3986" y="260350"/>
            <a:ext cx="11344031" cy="406400"/>
          </a:xfrm>
        </p:spPr>
        <p:txBody>
          <a:bodyPr anchor="b">
            <a:normAutofit/>
          </a:bodyPr>
          <a:lstStyle>
            <a:lvl1pPr>
              <a:defRPr sz="1600" b="1"/>
            </a:lvl1pPr>
          </a:lstStyle>
          <a:p>
            <a:r>
              <a:rPr lang="fr-FR" dirty="0"/>
              <a:t>Modifiez le style du titre</a:t>
            </a:r>
          </a:p>
        </p:txBody>
      </p:sp>
      <p:cxnSp>
        <p:nvCxnSpPr>
          <p:cNvPr id="4" name="Connecteur droit 3">
            <a:extLst>
              <a:ext uri="{FF2B5EF4-FFF2-40B4-BE49-F238E27FC236}">
                <a16:creationId xmlns:a16="http://schemas.microsoft.com/office/drawing/2014/main" id="{2410BE33-DA7F-41D2-BB8A-AF34FCAD45D0}"/>
              </a:ext>
            </a:extLst>
          </p:cNvPr>
          <p:cNvCxnSpPr/>
          <p:nvPr userDrawn="1"/>
        </p:nvCxnSpPr>
        <p:spPr>
          <a:xfrm>
            <a:off x="423985" y="693420"/>
            <a:ext cx="401319" cy="0"/>
          </a:xfrm>
          <a:prstGeom prst="line">
            <a:avLst/>
          </a:prstGeom>
          <a:ln w="3810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Espace réservé du contenu 7">
            <a:extLst>
              <a:ext uri="{FF2B5EF4-FFF2-40B4-BE49-F238E27FC236}">
                <a16:creationId xmlns:a16="http://schemas.microsoft.com/office/drawing/2014/main" id="{7DD66314-9254-4080-8ACA-D2FCC8B073ED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423986" y="981075"/>
            <a:ext cx="11344031" cy="5219700"/>
          </a:xfrm>
        </p:spPr>
        <p:txBody>
          <a:bodyPr/>
          <a:lstStyle>
            <a:lvl2pPr algn="just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3"/>
              </a:buClr>
              <a:defRPr lang="fr-FR" sz="1100" b="0" i="0" kern="1200" dirty="0" smtClean="0">
                <a:solidFill>
                  <a:schemeClr val="tx2"/>
                </a:solidFill>
                <a:latin typeface="Segoe UI" panose="020B0502040204020203" pitchFamily="34" charset="0"/>
                <a:ea typeface="+mn-ea"/>
                <a:cs typeface="+mn-cs"/>
              </a:defRPr>
            </a:lvl2pPr>
            <a:lvl3pPr algn="just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3"/>
              </a:buClr>
              <a:defRPr lang="fr-FR" sz="1100" b="0" i="0" kern="1200" dirty="0" smtClean="0">
                <a:solidFill>
                  <a:schemeClr val="tx2"/>
                </a:solidFill>
                <a:latin typeface="Segoe UI" panose="020B0502040204020203" pitchFamily="34" charset="0"/>
                <a:ea typeface="+mn-ea"/>
                <a:cs typeface="+mn-cs"/>
              </a:defRPr>
            </a:lvl3pPr>
            <a:lvl4pPr algn="just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3"/>
              </a:buClr>
              <a:defRPr lang="fr-FR" sz="1100" b="0" i="0" kern="1200" dirty="0" smtClean="0">
                <a:solidFill>
                  <a:schemeClr val="tx2"/>
                </a:solidFill>
                <a:latin typeface="Segoe UI" panose="020B0502040204020203" pitchFamily="34" charset="0"/>
                <a:ea typeface="+mn-ea"/>
                <a:cs typeface="+mn-cs"/>
              </a:defRPr>
            </a:lvl4pPr>
            <a:lvl5pPr algn="just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3"/>
              </a:buClr>
              <a:defRPr lang="fr-FR" sz="1100" b="0" i="0" kern="1200" dirty="0">
                <a:solidFill>
                  <a:schemeClr val="tx2"/>
                </a:solidFill>
                <a:latin typeface="Segoe UI" panose="020B0502040204020203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fr-FR" dirty="0"/>
              <a:t>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402161157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re / sous-titre /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5A4F0766-6309-644C-9BCE-2E607A270B7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9" name="Espace réservé de la date 3">
            <a:extLst>
              <a:ext uri="{FF2B5EF4-FFF2-40B4-BE49-F238E27FC236}">
                <a16:creationId xmlns:a16="http://schemas.microsoft.com/office/drawing/2014/main" id="{E9918C01-3017-D749-B811-9FCBA8038409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431800" y="6396842"/>
            <a:ext cx="1560000" cy="461159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defRPr sz="1000" b="1">
                <a:solidFill>
                  <a:schemeClr val="tx1"/>
                </a:solidFill>
              </a:defRPr>
            </a:lvl1pPr>
          </a:lstStyle>
          <a:p>
            <a:fld id="{6A4A60EE-9D13-3442-9796-E718C6343EC1}" type="datetime1">
              <a:rPr lang="fr-FR" cap="all" smtClean="0"/>
              <a:pPr/>
              <a:t>20/01/2023</a:t>
            </a:fld>
            <a:endParaRPr lang="fr-FR" cap="all" dirty="0"/>
          </a:p>
        </p:txBody>
      </p:sp>
      <p:sp>
        <p:nvSpPr>
          <p:cNvPr id="16" name="Espace réservé du texte 7">
            <a:extLst>
              <a:ext uri="{FF2B5EF4-FFF2-40B4-BE49-F238E27FC236}">
                <a16:creationId xmlns:a16="http://schemas.microsoft.com/office/drawing/2014/main" id="{EB9C9A62-C54B-3841-9346-5A54D371580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31801" y="1664906"/>
            <a:ext cx="11232819" cy="323935"/>
          </a:xfrm>
        </p:spPr>
        <p:txBody>
          <a:bodyPr/>
          <a:lstStyle>
            <a:lvl1pPr marL="12700" indent="114297">
              <a:spcBef>
                <a:spcPts val="533"/>
              </a:spcBef>
              <a:spcAft>
                <a:spcPts val="1067"/>
              </a:spcAft>
              <a:buFont typeface="+mj-lt"/>
              <a:buNone/>
              <a:tabLst/>
              <a:defRPr sz="20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31989" indent="-191995">
              <a:spcBef>
                <a:spcPts val="800"/>
              </a:spcBef>
              <a:spcAft>
                <a:spcPts val="1067"/>
              </a:spcAft>
              <a:buFont typeface="+mj-lt"/>
              <a:buAutoNum type="alphaLcPeriod"/>
              <a:defRPr/>
            </a:lvl2pPr>
          </a:lstStyle>
          <a:p>
            <a:pPr lvl="0"/>
            <a:r>
              <a:rPr lang="fr-FR" dirty="0"/>
              <a:t>Sous-titre</a:t>
            </a:r>
          </a:p>
          <a:p>
            <a:pPr lvl="0"/>
            <a:endParaRPr lang="fr-FR" dirty="0"/>
          </a:p>
        </p:txBody>
      </p:sp>
      <p:sp>
        <p:nvSpPr>
          <p:cNvPr id="19" name="Titre 18">
            <a:extLst>
              <a:ext uri="{FF2B5EF4-FFF2-40B4-BE49-F238E27FC236}">
                <a16:creationId xmlns:a16="http://schemas.microsoft.com/office/drawing/2014/main" id="{8B219A12-DAFE-504E-9ED9-CFD78BD6A79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fr-FR" dirty="0"/>
              <a:t>Titre</a:t>
            </a:r>
          </a:p>
        </p:txBody>
      </p:sp>
      <p:sp>
        <p:nvSpPr>
          <p:cNvPr id="20" name="Espace réservé du pied de page 4">
            <a:extLst>
              <a:ext uri="{FF2B5EF4-FFF2-40B4-BE49-F238E27FC236}">
                <a16:creationId xmlns:a16="http://schemas.microsoft.com/office/drawing/2014/main" id="{99BFD6E0-B235-DA4F-9D70-E9444B53C48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825043" y="260648"/>
            <a:ext cx="7839908" cy="480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r">
              <a:defRPr sz="1000" b="1">
                <a:solidFill>
                  <a:schemeClr val="tx1"/>
                </a:solidFill>
              </a:defRPr>
            </a:lvl1pPr>
          </a:lstStyle>
          <a:p>
            <a:r>
              <a:rPr lang="fr-FR" dirty="0"/>
              <a:t>DRIHL</a:t>
            </a:r>
          </a:p>
          <a:p>
            <a:r>
              <a:rPr lang="fr-FR" dirty="0"/>
              <a:t>Direction Régionale et Interdépartementale</a:t>
            </a:r>
            <a:br>
              <a:rPr lang="fr-FR" dirty="0"/>
            </a:br>
            <a:r>
              <a:rPr lang="fr-FR" dirty="0"/>
              <a:t>de l’Hébergement et du Logement</a:t>
            </a:r>
          </a:p>
        </p:txBody>
      </p:sp>
      <p:sp>
        <p:nvSpPr>
          <p:cNvPr id="8" name="Espace réservé du texte 11">
            <a:extLst>
              <a:ext uri="{FF2B5EF4-FFF2-40B4-BE49-F238E27FC236}">
                <a16:creationId xmlns:a16="http://schemas.microsoft.com/office/drawing/2014/main" id="{0AF74C14-DE22-FE4D-B865-03FBE975D57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31800" y="2276872"/>
            <a:ext cx="11232445" cy="3840427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 baseline="0"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fr-FR" dirty="0"/>
              <a:t>Texte de niveau 1</a:t>
            </a:r>
          </a:p>
          <a:p>
            <a:pPr lvl="1"/>
            <a:r>
              <a:rPr lang="fr-FR" dirty="0"/>
              <a:t>Texte de niveau 2</a:t>
            </a:r>
          </a:p>
          <a:p>
            <a:pPr lvl="2"/>
            <a:r>
              <a:rPr lang="fr-FR" dirty="0"/>
              <a:t>Texte de niveau 3</a:t>
            </a:r>
          </a:p>
          <a:p>
            <a:pPr lvl="3"/>
            <a:r>
              <a:rPr lang="fr-FR" dirty="0"/>
              <a:t>Texte de niveau 4</a:t>
            </a:r>
          </a:p>
          <a:p>
            <a:pPr lvl="4"/>
            <a:r>
              <a:rPr lang="fr-FR" dirty="0"/>
              <a:t>Texte de niveau 5</a:t>
            </a:r>
          </a:p>
        </p:txBody>
      </p:sp>
    </p:spTree>
    <p:extLst>
      <p:ext uri="{BB962C8B-B14F-4D97-AF65-F5344CB8AC3E}">
        <p14:creationId xmlns:p14="http://schemas.microsoft.com/office/powerpoint/2010/main" val="113061062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Somm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31371" y="2084851"/>
            <a:ext cx="3360000" cy="3840427"/>
          </a:xfrm>
        </p:spPr>
        <p:txBody>
          <a:bodyPr/>
          <a:lstStyle>
            <a:lvl1pPr marL="191995" indent="-191995">
              <a:spcBef>
                <a:spcPts val="533"/>
              </a:spcBef>
              <a:spcAft>
                <a:spcPts val="1067"/>
              </a:spcAft>
              <a:buFont typeface="+mj-lt"/>
              <a:buAutoNum type="arabicPeriod"/>
              <a:defRPr b="1"/>
            </a:lvl1pPr>
            <a:lvl2pPr marL="431989" indent="-191995">
              <a:spcBef>
                <a:spcPts val="800"/>
              </a:spcBef>
              <a:spcAft>
                <a:spcPts val="1067"/>
              </a:spcAft>
              <a:buFont typeface="+mj-lt"/>
              <a:buAutoNum type="alphaLcPeriod"/>
              <a:defRPr/>
            </a:lvl2pPr>
          </a:lstStyle>
          <a:p>
            <a:pPr lvl="0"/>
            <a:r>
              <a:rPr lang="fr-FR" dirty="0"/>
              <a:t>Titre de la partie</a:t>
            </a:r>
          </a:p>
          <a:p>
            <a:pPr lvl="1"/>
            <a:r>
              <a:rPr lang="fr-FR" dirty="0"/>
              <a:t>Deuxième niveau</a:t>
            </a:r>
          </a:p>
        </p:txBody>
      </p:sp>
      <p:sp>
        <p:nvSpPr>
          <p:cNvPr id="9" name="Espace réservé du texte 7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416000" y="2084851"/>
            <a:ext cx="3360000" cy="3814349"/>
          </a:xfrm>
        </p:spPr>
        <p:txBody>
          <a:bodyPr/>
          <a:lstStyle>
            <a:lvl1pPr marL="191995" indent="-191995">
              <a:spcBef>
                <a:spcPts val="533"/>
              </a:spcBef>
              <a:spcAft>
                <a:spcPts val="1067"/>
              </a:spcAft>
              <a:buFont typeface="+mj-lt"/>
              <a:buAutoNum type="arabicPeriod"/>
              <a:defRPr b="1"/>
            </a:lvl1pPr>
            <a:lvl2pPr marL="431989" indent="-191995">
              <a:spcBef>
                <a:spcPts val="800"/>
              </a:spcBef>
              <a:spcAft>
                <a:spcPts val="1067"/>
              </a:spcAft>
              <a:buFont typeface="+mj-lt"/>
              <a:buAutoNum type="alphaLcPeriod"/>
              <a:defRPr/>
            </a:lvl2pPr>
          </a:lstStyle>
          <a:p>
            <a:pPr lvl="0"/>
            <a:r>
              <a:rPr lang="fr-FR" dirty="0"/>
              <a:t>Titre de la partie</a:t>
            </a:r>
          </a:p>
          <a:p>
            <a:pPr lvl="1"/>
            <a:r>
              <a:rPr lang="fr-FR" dirty="0"/>
              <a:t>Deuxième niveau</a:t>
            </a:r>
          </a:p>
        </p:txBody>
      </p:sp>
      <p:sp>
        <p:nvSpPr>
          <p:cNvPr id="10" name="Espace réservé du texte 7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8351999" y="2084851"/>
            <a:ext cx="3360000" cy="3814349"/>
          </a:xfrm>
        </p:spPr>
        <p:txBody>
          <a:bodyPr/>
          <a:lstStyle>
            <a:lvl1pPr marL="191995" indent="-191995">
              <a:spcBef>
                <a:spcPts val="533"/>
              </a:spcBef>
              <a:spcAft>
                <a:spcPts val="1067"/>
              </a:spcAft>
              <a:buFont typeface="+mj-lt"/>
              <a:buAutoNum type="arabicPeriod"/>
              <a:defRPr b="1"/>
            </a:lvl1pPr>
            <a:lvl2pPr marL="431989" indent="-191995">
              <a:spcBef>
                <a:spcPts val="800"/>
              </a:spcBef>
              <a:spcAft>
                <a:spcPts val="1067"/>
              </a:spcAft>
              <a:buFont typeface="+mj-lt"/>
              <a:buAutoNum type="alphaLcPeriod"/>
              <a:defRPr/>
            </a:lvl2pPr>
          </a:lstStyle>
          <a:p>
            <a:pPr lvl="0"/>
            <a:r>
              <a:rPr lang="fr-FR" dirty="0"/>
              <a:t>Titre de la partie</a:t>
            </a:r>
          </a:p>
          <a:p>
            <a:pPr lvl="1"/>
            <a:r>
              <a:rPr lang="fr-FR" dirty="0"/>
              <a:t>Deuxième niveau</a:t>
            </a:r>
          </a:p>
        </p:txBody>
      </p:sp>
      <p:sp>
        <p:nvSpPr>
          <p:cNvPr id="23" name="Espace réservé de la date 3">
            <a:extLst>
              <a:ext uri="{FF2B5EF4-FFF2-40B4-BE49-F238E27FC236}">
                <a16:creationId xmlns:a16="http://schemas.microsoft.com/office/drawing/2014/main" id="{15CA4CAF-6729-AB4D-9354-99C08AEAB1B8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431801" y="6396842"/>
            <a:ext cx="1613913" cy="461159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defRPr sz="1000" b="1">
                <a:solidFill>
                  <a:schemeClr val="tx1"/>
                </a:solidFill>
              </a:defRPr>
            </a:lvl1pPr>
          </a:lstStyle>
          <a:p>
            <a:fld id="{251C71F6-E0A6-1740-B64F-38F332886BAF}" type="datetime1">
              <a:rPr lang="fr-FR" cap="all" smtClean="0"/>
              <a:pPr/>
              <a:t>20/01/2023</a:t>
            </a:fld>
            <a:endParaRPr lang="fr-FR" cap="all" dirty="0"/>
          </a:p>
        </p:txBody>
      </p:sp>
      <p:sp>
        <p:nvSpPr>
          <p:cNvPr id="25" name="Titre 18">
            <a:extLst>
              <a:ext uri="{FF2B5EF4-FFF2-40B4-BE49-F238E27FC236}">
                <a16:creationId xmlns:a16="http://schemas.microsoft.com/office/drawing/2014/main" id="{8909A550-9D66-7141-BF64-73CAD209688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1801" y="910402"/>
            <a:ext cx="11233151" cy="719988"/>
          </a:xfrm>
        </p:spPr>
        <p:txBody>
          <a:bodyPr/>
          <a:lstStyle/>
          <a:p>
            <a:r>
              <a:rPr lang="fr-FR" dirty="0"/>
              <a:t>Sommaire</a:t>
            </a:r>
          </a:p>
        </p:txBody>
      </p:sp>
      <p:sp>
        <p:nvSpPr>
          <p:cNvPr id="26" name="Espace réservé du pied de page 4">
            <a:extLst>
              <a:ext uri="{FF2B5EF4-FFF2-40B4-BE49-F238E27FC236}">
                <a16:creationId xmlns:a16="http://schemas.microsoft.com/office/drawing/2014/main" id="{745ED2D7-3CC1-3B41-AA37-64BDE1CE247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825043" y="260648"/>
            <a:ext cx="7839908" cy="480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r">
              <a:defRPr sz="1000" b="1">
                <a:solidFill>
                  <a:schemeClr val="tx1"/>
                </a:solidFill>
              </a:defRPr>
            </a:lvl1pPr>
          </a:lstStyle>
          <a:p>
            <a:r>
              <a:rPr lang="fr-FR" dirty="0"/>
              <a:t>DRIHL</a:t>
            </a:r>
          </a:p>
          <a:p>
            <a:r>
              <a:rPr lang="fr-FR" dirty="0"/>
              <a:t>Direction Régionale et Interdépartementale</a:t>
            </a:r>
            <a:br>
              <a:rPr lang="fr-FR" dirty="0"/>
            </a:br>
            <a:r>
              <a:rPr lang="fr-FR" dirty="0"/>
              <a:t>de l’Hébergement et du Logement</a:t>
            </a:r>
          </a:p>
        </p:txBody>
      </p:sp>
    </p:spTree>
    <p:extLst>
      <p:ext uri="{BB962C8B-B14F-4D97-AF65-F5344CB8AC3E}">
        <p14:creationId xmlns:p14="http://schemas.microsoft.com/office/powerpoint/2010/main" val="9469012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ce réservé de la date 3">
            <a:extLst>
              <a:ext uri="{FF2B5EF4-FFF2-40B4-BE49-F238E27FC236}">
                <a16:creationId xmlns:a16="http://schemas.microsoft.com/office/drawing/2014/main" id="{D4DE6B73-F771-4515-AB94-A3421E11C80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615692" y="6407719"/>
            <a:ext cx="1301690" cy="301756"/>
          </a:xfrm>
          <a:prstGeom prst="rect">
            <a:avLst/>
          </a:prstGeom>
        </p:spPr>
        <p:txBody>
          <a:bodyPr anchor="ctr"/>
          <a:lstStyle>
            <a:lvl1pPr algn="ctr">
              <a:defRPr sz="1100" b="0" i="0">
                <a:solidFill>
                  <a:schemeClr val="bg1">
                    <a:lumMod val="50000"/>
                  </a:schemeClr>
                </a:solidFill>
                <a:latin typeface="Segoe UI" panose="020B0502040204020203" pitchFamily="34" charset="0"/>
              </a:defRPr>
            </a:lvl1pPr>
          </a:lstStyle>
          <a:p>
            <a:endParaRPr lang="fr-FR" dirty="0"/>
          </a:p>
        </p:txBody>
      </p:sp>
      <p:sp>
        <p:nvSpPr>
          <p:cNvPr id="7" name="Espace réservé du pied de page 4">
            <a:extLst>
              <a:ext uri="{FF2B5EF4-FFF2-40B4-BE49-F238E27FC236}">
                <a16:creationId xmlns:a16="http://schemas.microsoft.com/office/drawing/2014/main" id="{AE87BA5A-055A-4B95-AC48-618CF7D9219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725663" y="6407719"/>
            <a:ext cx="6740676" cy="301756"/>
          </a:xfrm>
          <a:prstGeom prst="rect">
            <a:avLst/>
          </a:prstGeom>
        </p:spPr>
        <p:txBody>
          <a:bodyPr anchor="ctr"/>
          <a:lstStyle>
            <a:lvl1pPr algn="ctr">
              <a:defRPr sz="1100" b="0" i="0">
                <a:solidFill>
                  <a:schemeClr val="bg1">
                    <a:lumMod val="50000"/>
                  </a:schemeClr>
                </a:solidFill>
                <a:latin typeface="Segoe UI" panose="020B0502040204020203" pitchFamily="34" charset="0"/>
              </a:defRPr>
            </a:lvl1pPr>
          </a:lstStyle>
          <a:p>
            <a:r>
              <a:rPr lang="fr-FR"/>
              <a:t>Restitution concertation gestion en flux - 27 janvier 2021</a:t>
            </a:r>
            <a:endParaRPr lang="fr-FR" dirty="0"/>
          </a:p>
        </p:txBody>
      </p:sp>
      <p:sp>
        <p:nvSpPr>
          <p:cNvPr id="8" name="Espace réservé du numéro de diapositive 5">
            <a:extLst>
              <a:ext uri="{FF2B5EF4-FFF2-40B4-BE49-F238E27FC236}">
                <a16:creationId xmlns:a16="http://schemas.microsoft.com/office/drawing/2014/main" id="{C18D147E-17EC-4959-88F9-DCBC84569E4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074448" y="6407719"/>
            <a:ext cx="693568" cy="301756"/>
          </a:xfrm>
          <a:prstGeom prst="rect">
            <a:avLst/>
          </a:prstGeom>
        </p:spPr>
        <p:txBody>
          <a:bodyPr rIns="0" anchor="ctr"/>
          <a:lstStyle>
            <a:lvl1pPr algn="r">
              <a:defRPr sz="1100" b="0" i="0">
                <a:solidFill>
                  <a:schemeClr val="tx2"/>
                </a:solidFill>
                <a:latin typeface="Segoe UI" panose="020B0502040204020203" pitchFamily="34" charset="0"/>
              </a:defRPr>
            </a:lvl1pPr>
          </a:lstStyle>
          <a:p>
            <a:fld id="{5B4B94EB-EA19-4609-98BF-9B9B2F674865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9" name="Espace réservé du titre 8">
            <a:extLst>
              <a:ext uri="{FF2B5EF4-FFF2-40B4-BE49-F238E27FC236}">
                <a16:creationId xmlns:a16="http://schemas.microsoft.com/office/drawing/2014/main" id="{BFA9B919-9C61-4F6A-8D2F-92A17EA7FA2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3986" y="96185"/>
            <a:ext cx="11344031" cy="1325563"/>
          </a:xfrm>
          <a:prstGeom prst="rect">
            <a:avLst/>
          </a:prstGeom>
        </p:spPr>
        <p:txBody>
          <a:bodyPr vert="horz" lIns="0" tIns="45720" rIns="0" bIns="45720" rtlCol="0" anchor="ctr">
            <a:normAutofit/>
          </a:bodyPr>
          <a:lstStyle/>
          <a:p>
            <a:r>
              <a:rPr lang="fr-FR" dirty="0"/>
              <a:t>Modifiez le style du titre</a:t>
            </a:r>
          </a:p>
        </p:txBody>
      </p:sp>
      <p:sp>
        <p:nvSpPr>
          <p:cNvPr id="10" name="Espace réservé du texte 9">
            <a:extLst>
              <a:ext uri="{FF2B5EF4-FFF2-40B4-BE49-F238E27FC236}">
                <a16:creationId xmlns:a16="http://schemas.microsoft.com/office/drawing/2014/main" id="{459906FE-00F4-494C-B53A-16B32A6349A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23986" y="1825625"/>
            <a:ext cx="11344031" cy="4351338"/>
          </a:xfrm>
          <a:prstGeom prst="rect">
            <a:avLst/>
          </a:prstGeom>
        </p:spPr>
        <p:txBody>
          <a:bodyPr vert="horz" lIns="0" tIns="45720" rIns="0" bIns="45720" rtlCol="0">
            <a:normAutofit/>
          </a:bodyPr>
          <a:lstStyle/>
          <a:p>
            <a:pPr lvl="0"/>
            <a:r>
              <a:rPr lang="fr-FR" dirty="0"/>
              <a:t>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  <a:p>
            <a:pPr lvl="1"/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99807365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5" r:id="rId4"/>
    <p:sldLayoutId id="2147483666" r:id="rId5"/>
  </p:sldLayoutIdLst>
  <p:timing>
    <p:tnLst>
      <p:par>
        <p:cTn id="1" dur="indefinite" restart="never" nodeType="tmRoot"/>
      </p:par>
    </p:tnLst>
  </p:timing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0" i="0" kern="1200">
          <a:solidFill>
            <a:schemeClr val="tx2"/>
          </a:solidFill>
          <a:latin typeface="Segoe UI" panose="020B0502040204020203" pitchFamily="34" charset="0"/>
          <a:ea typeface="+mj-ea"/>
          <a:cs typeface="+mj-cs"/>
        </a:defRPr>
      </a:lvl1pPr>
    </p:titleStyle>
    <p:bodyStyle>
      <a:lvl1pPr marL="0" indent="0" algn="just" defTabSz="914400" rtl="0" eaLnBrk="1" latinLnBrk="0" hangingPunct="1">
        <a:lnSpc>
          <a:spcPct val="110000"/>
        </a:lnSpc>
        <a:spcBef>
          <a:spcPts val="1200"/>
        </a:spcBef>
        <a:spcAft>
          <a:spcPts val="0"/>
        </a:spcAft>
        <a:buFont typeface="Arial" panose="020B0604020202020204" pitchFamily="34" charset="0"/>
        <a:buNone/>
        <a:defRPr sz="1100" b="0" i="0" kern="1200">
          <a:solidFill>
            <a:schemeClr val="tx2"/>
          </a:solidFill>
          <a:latin typeface="Segoe UI" panose="020B0502040204020203" pitchFamily="34" charset="0"/>
          <a:ea typeface="+mn-ea"/>
          <a:cs typeface="+mn-cs"/>
        </a:defRPr>
      </a:lvl1pPr>
      <a:lvl2pPr marL="179388" indent="-179388" algn="just" defTabSz="914400" rtl="0" eaLnBrk="1" latinLnBrk="0" hangingPunct="1">
        <a:lnSpc>
          <a:spcPct val="110000"/>
        </a:lnSpc>
        <a:spcBef>
          <a:spcPts val="600"/>
        </a:spcBef>
        <a:spcAft>
          <a:spcPts val="0"/>
        </a:spcAft>
        <a:buClr>
          <a:schemeClr val="accent3"/>
        </a:buClr>
        <a:buFont typeface="Arial" panose="020B0604020202020204" pitchFamily="34" charset="0"/>
        <a:buChar char="•"/>
        <a:defRPr sz="1100" b="0" i="0" kern="1200">
          <a:solidFill>
            <a:schemeClr val="tx2"/>
          </a:solidFill>
          <a:latin typeface="Segoe UI" panose="020B0502040204020203" pitchFamily="34" charset="0"/>
          <a:ea typeface="+mn-ea"/>
          <a:cs typeface="+mn-cs"/>
        </a:defRPr>
      </a:lvl2pPr>
      <a:lvl3pPr marL="358775" indent="-177800" algn="just" defTabSz="914400" rtl="0" eaLnBrk="1" latinLnBrk="0" hangingPunct="1">
        <a:lnSpc>
          <a:spcPct val="110000"/>
        </a:lnSpc>
        <a:spcBef>
          <a:spcPts val="600"/>
        </a:spcBef>
        <a:spcAft>
          <a:spcPts val="0"/>
        </a:spcAft>
        <a:buClr>
          <a:schemeClr val="accent3"/>
        </a:buClr>
        <a:buFont typeface="Arial" panose="020B0604020202020204" pitchFamily="34" charset="0"/>
        <a:buChar char="-"/>
        <a:defRPr sz="1100" b="0" i="0" kern="1200">
          <a:solidFill>
            <a:schemeClr val="tx2"/>
          </a:solidFill>
          <a:latin typeface="Segoe UI" panose="020B0502040204020203" pitchFamily="34" charset="0"/>
          <a:ea typeface="+mn-ea"/>
          <a:cs typeface="+mn-cs"/>
        </a:defRPr>
      </a:lvl3pPr>
      <a:lvl4pPr marL="180975" indent="-180975" algn="just" defTabSz="914400" rtl="0" eaLnBrk="1" latinLnBrk="0" hangingPunct="1">
        <a:lnSpc>
          <a:spcPct val="110000"/>
        </a:lnSpc>
        <a:spcBef>
          <a:spcPts val="600"/>
        </a:spcBef>
        <a:spcAft>
          <a:spcPts val="0"/>
        </a:spcAft>
        <a:buClr>
          <a:schemeClr val="accent3"/>
        </a:buClr>
        <a:buFont typeface="+mj-lt"/>
        <a:buAutoNum type="arabicPeriod"/>
        <a:defRPr lang="fr-FR" sz="1100" b="0" i="0" kern="1200" dirty="0" smtClean="0">
          <a:solidFill>
            <a:schemeClr val="tx2"/>
          </a:solidFill>
          <a:latin typeface="Segoe UI" panose="020B0502040204020203" pitchFamily="34" charset="0"/>
          <a:ea typeface="+mn-ea"/>
          <a:cs typeface="+mn-cs"/>
        </a:defRPr>
      </a:lvl4pPr>
      <a:lvl5pPr marL="409575" indent="-228600" algn="just" defTabSz="914400" rtl="0" eaLnBrk="1" latinLnBrk="0" hangingPunct="1">
        <a:lnSpc>
          <a:spcPct val="110000"/>
        </a:lnSpc>
        <a:spcBef>
          <a:spcPts val="600"/>
        </a:spcBef>
        <a:spcAft>
          <a:spcPts val="0"/>
        </a:spcAft>
        <a:buClr>
          <a:schemeClr val="accent3"/>
        </a:buClr>
        <a:buFont typeface="+mj-lt"/>
        <a:buAutoNum type="alphaLcPeriod"/>
        <a:defRPr sz="1100" b="0" i="0" kern="1200">
          <a:solidFill>
            <a:schemeClr val="tx2"/>
          </a:solidFill>
          <a:latin typeface="Segoe UI" panose="020B0502040204020203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4">
          <p15:clr>
            <a:srgbClr val="F26B43"/>
          </p15:clr>
        </p15:guide>
        <p15:guide id="2" orient="horz" pos="4042">
          <p15:clr>
            <a:srgbClr val="F26B43"/>
          </p15:clr>
        </p15:guide>
        <p15:guide id="3" pos="217">
          <p15:clr>
            <a:srgbClr val="F26B43"/>
          </p15:clr>
        </p15:guide>
        <p15:guide id="4" pos="6023">
          <p15:clr>
            <a:srgbClr val="F26B43"/>
          </p15:clr>
        </p15:guide>
        <p15:guide id="5" orient="horz" pos="618">
          <p15:clr>
            <a:srgbClr val="F26B43"/>
          </p15:clr>
        </p15:guide>
        <p15:guide id="6" orient="horz" pos="3906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7" Type="http://schemas.openxmlformats.org/officeDocument/2006/relationships/image" Target="../media/image7.sv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5.png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13" Type="http://schemas.openxmlformats.org/officeDocument/2006/relationships/image" Target="../media/image19.svg"/><Relationship Id="rId3" Type="http://schemas.openxmlformats.org/officeDocument/2006/relationships/image" Target="../media/image9.svg"/><Relationship Id="rId7" Type="http://schemas.openxmlformats.org/officeDocument/2006/relationships/image" Target="../media/image13.svg"/><Relationship Id="rId12" Type="http://schemas.openxmlformats.org/officeDocument/2006/relationships/image" Target="../media/image10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8.png"/><Relationship Id="rId11" Type="http://schemas.openxmlformats.org/officeDocument/2006/relationships/image" Target="../media/image17.svg"/><Relationship Id="rId5" Type="http://schemas.openxmlformats.org/officeDocument/2006/relationships/image" Target="../media/image11.svg"/><Relationship Id="rId15" Type="http://schemas.openxmlformats.org/officeDocument/2006/relationships/image" Target="../media/image21.svg"/><Relationship Id="rId10" Type="http://schemas.openxmlformats.org/officeDocument/2006/relationships/image" Target="../media/image16.svg"/><Relationship Id="rId4" Type="http://schemas.openxmlformats.org/officeDocument/2006/relationships/image" Target="../media/image7.png"/><Relationship Id="rId9" Type="http://schemas.openxmlformats.org/officeDocument/2006/relationships/image" Target="../media/image15.svg"/><Relationship Id="rId14" Type="http://schemas.openxmlformats.org/officeDocument/2006/relationships/image" Target="../media/image11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image" Target="../media/image9.svg"/><Relationship Id="rId7" Type="http://schemas.openxmlformats.org/officeDocument/2006/relationships/image" Target="../media/image13.svg"/><Relationship Id="rId12" Type="http://schemas.openxmlformats.org/officeDocument/2006/relationships/image" Target="../media/image21.sv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8.png"/><Relationship Id="rId11" Type="http://schemas.openxmlformats.org/officeDocument/2006/relationships/image" Target="../media/image11.png"/><Relationship Id="rId5" Type="http://schemas.openxmlformats.org/officeDocument/2006/relationships/image" Target="../media/image11.svg"/><Relationship Id="rId10" Type="http://schemas.openxmlformats.org/officeDocument/2006/relationships/image" Target="../media/image16.svg"/><Relationship Id="rId4" Type="http://schemas.openxmlformats.org/officeDocument/2006/relationships/image" Target="../media/image7.png"/><Relationship Id="rId9" Type="http://schemas.openxmlformats.org/officeDocument/2006/relationships/image" Target="../media/image15.sv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13" Type="http://schemas.openxmlformats.org/officeDocument/2006/relationships/image" Target="../media/image38.svg"/><Relationship Id="rId3" Type="http://schemas.openxmlformats.org/officeDocument/2006/relationships/image" Target="../media/image28.svg"/><Relationship Id="rId7" Type="http://schemas.openxmlformats.org/officeDocument/2006/relationships/image" Target="../media/image32.svg"/><Relationship Id="rId12" Type="http://schemas.openxmlformats.org/officeDocument/2006/relationships/image" Target="../media/image18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15.png"/><Relationship Id="rId11" Type="http://schemas.openxmlformats.org/officeDocument/2006/relationships/image" Target="../media/image36.svg"/><Relationship Id="rId5" Type="http://schemas.openxmlformats.org/officeDocument/2006/relationships/image" Target="../media/image30.svg"/><Relationship Id="rId15" Type="http://schemas.openxmlformats.org/officeDocument/2006/relationships/image" Target="../media/image39.svg"/><Relationship Id="rId10" Type="http://schemas.openxmlformats.org/officeDocument/2006/relationships/image" Target="../media/image17.png"/><Relationship Id="rId4" Type="http://schemas.openxmlformats.org/officeDocument/2006/relationships/image" Target="../media/image14.png"/><Relationship Id="rId9" Type="http://schemas.openxmlformats.org/officeDocument/2006/relationships/image" Target="../media/image34.svg"/><Relationship Id="rId14" Type="http://schemas.openxmlformats.org/officeDocument/2006/relationships/image" Target="../media/image19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23999" y="553671"/>
            <a:ext cx="11570365" cy="54711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9984803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CFF5838E-2EB6-D842-9098-9F664E4D4EE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31371" y="2852936"/>
            <a:ext cx="3360000" cy="3072341"/>
          </a:xfrm>
        </p:spPr>
        <p:txBody>
          <a:bodyPr/>
          <a:lstStyle/>
          <a:p>
            <a:pPr marL="0" indent="0" algn="ctr">
              <a:buNone/>
            </a:pPr>
            <a:r>
              <a:rPr lang="fr-FR" sz="1800" dirty="0">
                <a:latin typeface="Marianne" panose="02000000000000000000" pitchFamily="2" charset="0"/>
              </a:rPr>
              <a:t> </a:t>
            </a:r>
            <a:r>
              <a:rPr lang="fr-FR" sz="1800" dirty="0">
                <a:solidFill>
                  <a:srgbClr val="48ADDF"/>
                </a:solidFill>
                <a:latin typeface="Marianne" panose="02000000000000000000" pitchFamily="2" charset="0"/>
              </a:rPr>
              <a:t>Renforcer la fluidité</a:t>
            </a:r>
          </a:p>
          <a:p>
            <a:pPr marL="0" indent="0" algn="ctr">
              <a:buNone/>
            </a:pPr>
            <a:endParaRPr lang="fr-FR" dirty="0">
              <a:solidFill>
                <a:srgbClr val="48ADDF"/>
              </a:solidFill>
              <a:latin typeface="Marianne" panose="02000000000000000000" pitchFamily="2" charset="0"/>
            </a:endParaRPr>
          </a:p>
          <a:p>
            <a:pPr marL="0" indent="0" algn="ctr">
              <a:buNone/>
            </a:pPr>
            <a:r>
              <a:rPr lang="fr-FR" sz="1467" b="0" dirty="0">
                <a:latin typeface="Marianne" panose="02000000000000000000" pitchFamily="2" charset="0"/>
              </a:rPr>
              <a:t>Optimiser l’allocation des logements proposés à la demande exprimée</a:t>
            </a:r>
          </a:p>
          <a:p>
            <a:pPr marL="0" indent="0" algn="ctr">
              <a:buNone/>
            </a:pPr>
            <a:r>
              <a:rPr lang="fr-FR" sz="1467" b="0" dirty="0">
                <a:latin typeface="Marianne" panose="02000000000000000000" pitchFamily="2" charset="0"/>
              </a:rPr>
              <a:t>Lever les freins liés à des logements réservés dont les </a:t>
            </a:r>
            <a:r>
              <a:rPr lang="fr-FR" sz="1467" b="0" dirty="0">
                <a:latin typeface="Marianne" panose="02000000000000000000"/>
              </a:rPr>
              <a:t>caractéristiques</a:t>
            </a:r>
            <a:r>
              <a:rPr lang="fr-FR" sz="1467" b="0" dirty="0">
                <a:latin typeface="Marianne" panose="02000000000000000000" pitchFamily="2" charset="0"/>
              </a:rPr>
              <a:t> ne correspondent plus aux demandes</a:t>
            </a:r>
          </a:p>
        </p:txBody>
      </p:sp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id="{3F062354-586A-2148-939E-36D4AD9976B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416000" y="2852936"/>
            <a:ext cx="3360000" cy="3046264"/>
          </a:xfrm>
        </p:spPr>
        <p:txBody>
          <a:bodyPr/>
          <a:lstStyle/>
          <a:p>
            <a:pPr marL="0" indent="0" algn="ctr">
              <a:buNone/>
            </a:pPr>
            <a:r>
              <a:rPr lang="fr-FR" sz="1800" dirty="0">
                <a:solidFill>
                  <a:srgbClr val="D62F82"/>
                </a:solidFill>
                <a:latin typeface="Marianne" panose="02000000000000000000" pitchFamily="2" charset="0"/>
              </a:rPr>
              <a:t>Faciliter les parcours résidentiels</a:t>
            </a:r>
          </a:p>
          <a:p>
            <a:pPr marL="0" indent="0" algn="ctr">
              <a:buNone/>
            </a:pPr>
            <a:endParaRPr lang="fr-FR" sz="1467" b="0" dirty="0">
              <a:solidFill>
                <a:srgbClr val="D62F82"/>
              </a:solidFill>
              <a:latin typeface="Marianne" panose="02000000000000000000" pitchFamily="2" charset="0"/>
            </a:endParaRPr>
          </a:p>
          <a:p>
            <a:pPr marL="0" indent="0" algn="ctr">
              <a:buNone/>
            </a:pPr>
            <a:r>
              <a:rPr lang="fr-FR" sz="1467" b="0" dirty="0">
                <a:latin typeface="Marianne" panose="02000000000000000000" pitchFamily="2" charset="0"/>
              </a:rPr>
              <a:t>Favoriser les demandes de mutations</a:t>
            </a:r>
          </a:p>
          <a:p>
            <a:pPr marL="0" indent="0" algn="ctr">
              <a:buNone/>
            </a:pPr>
            <a:r>
              <a:rPr lang="fr-FR" sz="1467" b="0" dirty="0">
                <a:latin typeface="Marianne" panose="02000000000000000000" pitchFamily="2" charset="0"/>
              </a:rPr>
              <a:t>Accompagner les parcours résidentiels des occupants</a:t>
            </a:r>
          </a:p>
        </p:txBody>
      </p:sp>
      <p:sp>
        <p:nvSpPr>
          <p:cNvPr id="10" name="Espace réservé du texte 9">
            <a:extLst>
              <a:ext uri="{FF2B5EF4-FFF2-40B4-BE49-F238E27FC236}">
                <a16:creationId xmlns:a16="http://schemas.microsoft.com/office/drawing/2014/main" id="{94C553D7-AA5E-904F-93FB-3459212A93D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351999" y="2852934"/>
            <a:ext cx="3360000" cy="3046265"/>
          </a:xfrm>
        </p:spPr>
        <p:txBody>
          <a:bodyPr/>
          <a:lstStyle/>
          <a:p>
            <a:pPr marL="0" indent="0" algn="ctr">
              <a:buNone/>
            </a:pPr>
            <a:r>
              <a:rPr lang="fr-FR" sz="1800" dirty="0">
                <a:solidFill>
                  <a:srgbClr val="009999"/>
                </a:solidFill>
                <a:latin typeface="Marianne" panose="02000000000000000000" pitchFamily="2" charset="0"/>
              </a:rPr>
              <a:t>Favoriser la mixité sociale</a:t>
            </a:r>
          </a:p>
          <a:p>
            <a:pPr marL="0" indent="0" algn="ctr">
              <a:buNone/>
            </a:pPr>
            <a:endParaRPr lang="fr-FR" dirty="0">
              <a:solidFill>
                <a:srgbClr val="009999"/>
              </a:solidFill>
              <a:latin typeface="Marianne" panose="02000000000000000000" pitchFamily="2" charset="0"/>
            </a:endParaRPr>
          </a:p>
          <a:p>
            <a:pPr marL="0" indent="0" algn="ctr">
              <a:buNone/>
            </a:pPr>
            <a:r>
              <a:rPr lang="fr-FR" sz="1467" b="0" dirty="0">
                <a:latin typeface="Marianne" panose="02000000000000000000" pitchFamily="2" charset="0"/>
              </a:rPr>
              <a:t>Dépasser « l’effet filière » conduisant à la concentration de ménages en difficultés dans certaines résidences, en fonction de la répartition des contingents dans les différents segments du parc</a:t>
            </a:r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F68F9E10-0847-C84E-A00D-4E630B5DE25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801" y="153020"/>
            <a:ext cx="11233151" cy="719988"/>
          </a:xfrm>
        </p:spPr>
        <p:txBody>
          <a:bodyPr vert="horz" lIns="0" tIns="45720" rIns="0" bIns="45720" rtlCol="0" anchor="ctr">
            <a:normAutofit/>
          </a:bodyPr>
          <a:lstStyle/>
          <a:p>
            <a:r>
              <a:rPr lang="fr-FR" dirty="0">
                <a:latin typeface="Marianne" panose="02000000000000000000" pitchFamily="2" charset="0"/>
              </a:rPr>
              <a:t>Rappel des objectifs de la gestion en flux</a:t>
            </a:r>
          </a:p>
        </p:txBody>
      </p:sp>
      <p:pic>
        <p:nvPicPr>
          <p:cNvPr id="12" name="Graphique 11" descr="Cercles avec flèches">
            <a:extLst>
              <a:ext uri="{FF2B5EF4-FFF2-40B4-BE49-F238E27FC236}">
                <a16:creationId xmlns:a16="http://schemas.microsoft.com/office/drawing/2014/main" id="{61A909DD-5987-234B-8313-F6D74ADD45A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672891" y="1914068"/>
            <a:ext cx="876960" cy="876960"/>
          </a:xfrm>
          <a:prstGeom prst="rect">
            <a:avLst/>
          </a:prstGeom>
        </p:spPr>
      </p:pic>
      <p:pic>
        <p:nvPicPr>
          <p:cNvPr id="13" name="Graphique 12" descr="Connexions">
            <a:extLst>
              <a:ext uri="{FF2B5EF4-FFF2-40B4-BE49-F238E27FC236}">
                <a16:creationId xmlns:a16="http://schemas.microsoft.com/office/drawing/2014/main" id="{B222B19B-A08B-B74C-9D3A-9938CAD3901F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=""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5657520" y="1922589"/>
            <a:ext cx="876960" cy="876960"/>
          </a:xfrm>
          <a:prstGeom prst="rect">
            <a:avLst/>
          </a:prstGeom>
        </p:spPr>
      </p:pic>
      <p:pic>
        <p:nvPicPr>
          <p:cNvPr id="14" name="Graphique 13" descr="Famille avec une fille">
            <a:extLst>
              <a:ext uri="{FF2B5EF4-FFF2-40B4-BE49-F238E27FC236}">
                <a16:creationId xmlns:a16="http://schemas.microsoft.com/office/drawing/2014/main" id="{C9F0CE47-A1F3-8343-96BF-1914AF5335C1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=""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9642149" y="1914068"/>
            <a:ext cx="876960" cy="8769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493893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200655A0-8573-407D-B5E0-F32B6FEA578C}"/>
              </a:ext>
            </a:extLst>
          </p:cNvPr>
          <p:cNvSpPr/>
          <p:nvPr/>
        </p:nvSpPr>
        <p:spPr>
          <a:xfrm>
            <a:off x="2918692" y="1692657"/>
            <a:ext cx="6096000" cy="2246769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/>
            <a:r>
              <a:rPr lang="fr-FR" sz="4000" dirty="0">
                <a:solidFill>
                  <a:srgbClr val="1D967F"/>
                </a:solidFill>
              </a:rPr>
              <a:t>25 % </a:t>
            </a:r>
          </a:p>
          <a:p>
            <a:pPr algn="ctr"/>
            <a:r>
              <a:rPr lang="fr-FR" sz="1600" b="1" dirty="0">
                <a:solidFill>
                  <a:srgbClr val="1D967F"/>
                </a:solidFill>
              </a:rPr>
              <a:t>Un objectif commun aux réservataires</a:t>
            </a:r>
          </a:p>
          <a:p>
            <a:pPr algn="ctr"/>
            <a:r>
              <a:rPr lang="fr-FR" sz="1400" dirty="0"/>
              <a:t>Les collectivités locales, Action Logement Services et les bailleurs sociaux doivent consacrer au moins 25 % de leurs attributions annuelles aux ménages prioritaires. Cet objectif concerne en premier lieu les ménages bénéficiant d’une décision favorable au titre du </a:t>
            </a:r>
            <a:r>
              <a:rPr lang="fr-FR" sz="1400" dirty="0" err="1"/>
              <a:t>Dalo</a:t>
            </a:r>
            <a:r>
              <a:rPr lang="fr-FR" sz="1400" dirty="0"/>
              <a:t>. Le contingent de l’État est quant à lui dédié aux ménages prioritaires ainsi qu’au bénéfice des agents civils et militaires de l’État.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BA061146-A6B0-44B8-85BE-7DAB1B004C72}"/>
              </a:ext>
            </a:extLst>
          </p:cNvPr>
          <p:cNvSpPr/>
          <p:nvPr/>
        </p:nvSpPr>
        <p:spPr>
          <a:xfrm>
            <a:off x="415636" y="297981"/>
            <a:ext cx="11323781" cy="369332"/>
          </a:xfrm>
          <a:prstGeom prst="rect">
            <a:avLst/>
          </a:prstGeom>
        </p:spPr>
        <p:txBody>
          <a:bodyPr vert="horz" lIns="0" tIns="45720" rIns="0" bIns="45720" rtlCol="0" anchor="ctr">
            <a:normAutofit fontScale="47500" lnSpcReduction="20000"/>
          </a:bodyPr>
          <a:lstStyle/>
          <a:p>
            <a:pPr>
              <a:lnSpc>
                <a:spcPct val="90000"/>
              </a:lnSpc>
              <a:spcBef>
                <a:spcPct val="0"/>
              </a:spcBef>
            </a:pPr>
            <a:r>
              <a:rPr lang="fr-FR" sz="4000" dirty="0">
                <a:solidFill>
                  <a:schemeClr val="tx2"/>
                </a:solidFill>
                <a:latin typeface="Marianne" panose="02000000000000000000" pitchFamily="2" charset="0"/>
                <a:ea typeface="+mj-ea"/>
                <a:cs typeface="+mj-cs"/>
              </a:rPr>
              <a:t>Des objectifs pour la mixité sociale et l’accès au logement social des publics défavorisés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E4ABDAD-6CE8-4905-AF26-01EF3FA3D2A1}"/>
              </a:ext>
            </a:extLst>
          </p:cNvPr>
          <p:cNvSpPr/>
          <p:nvPr/>
        </p:nvSpPr>
        <p:spPr>
          <a:xfrm>
            <a:off x="295564" y="3983182"/>
            <a:ext cx="4959927" cy="20313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fr-FR" sz="4000" dirty="0">
                <a:solidFill>
                  <a:srgbClr val="0070C0"/>
                </a:solidFill>
              </a:rPr>
              <a:t>50%</a:t>
            </a:r>
          </a:p>
          <a:p>
            <a:pPr algn="ctr"/>
            <a:r>
              <a:rPr lang="fr-FR" sz="1600" b="1" dirty="0">
                <a:solidFill>
                  <a:srgbClr val="0070C0"/>
                </a:solidFill>
              </a:rPr>
              <a:t>Un objectif à l’échelle des EPCI*</a:t>
            </a:r>
          </a:p>
          <a:p>
            <a:pPr algn="ctr"/>
            <a:r>
              <a:rPr lang="fr-FR" sz="1400" dirty="0"/>
              <a:t>Au moins 50 % des attributions annuelles de logements situés dans les QPV sont consacrées à des demandeurs autres que ceux appartenant au premier quartile de ressources ou à des personnes relogées dans le cadre d’une opération </a:t>
            </a:r>
            <a:r>
              <a:rPr lang="fr-FR" sz="1400" dirty="0" err="1"/>
              <a:t>Anru</a:t>
            </a:r>
            <a:r>
              <a:rPr lang="fr-FR" sz="1400" dirty="0"/>
              <a:t> ou d’une </a:t>
            </a:r>
            <a:r>
              <a:rPr lang="fr-FR" sz="1400" dirty="0" err="1" smtClean="0"/>
              <a:t>Orcod</a:t>
            </a:r>
            <a:r>
              <a:rPr lang="fr-FR" sz="1400" dirty="0"/>
              <a:t>-</a:t>
            </a:r>
            <a:r>
              <a:rPr lang="fr-FR" sz="1400" dirty="0" smtClean="0"/>
              <a:t>In.</a:t>
            </a:r>
            <a:endParaRPr lang="fr-FR" sz="1400" dirty="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959A5F1-AA85-4B5F-8BB5-9715363F373E}"/>
              </a:ext>
            </a:extLst>
          </p:cNvPr>
          <p:cNvSpPr/>
          <p:nvPr/>
        </p:nvSpPr>
        <p:spPr>
          <a:xfrm>
            <a:off x="6465454" y="3832591"/>
            <a:ext cx="4959927" cy="224676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fr-FR" sz="4000" dirty="0">
                <a:solidFill>
                  <a:srgbClr val="D9408D"/>
                </a:solidFill>
              </a:rPr>
              <a:t>25%</a:t>
            </a:r>
          </a:p>
          <a:p>
            <a:pPr algn="ctr"/>
            <a:r>
              <a:rPr lang="fr-FR" sz="1600" b="1" dirty="0">
                <a:solidFill>
                  <a:srgbClr val="D9408D"/>
                </a:solidFill>
              </a:rPr>
              <a:t>Un objectif à l’échelle des EPCI*</a:t>
            </a:r>
            <a:endParaRPr lang="fr-FR" sz="1600" dirty="0">
              <a:solidFill>
                <a:srgbClr val="D9408D"/>
              </a:solidFill>
            </a:endParaRPr>
          </a:p>
          <a:p>
            <a:pPr algn="ctr"/>
            <a:r>
              <a:rPr lang="fr-FR" sz="1400" dirty="0"/>
              <a:t>Au moins 25 % des attributions annuelles, suivies de baux signés, de logements situés en dehors des quartiers prioritaires de la politique de la ville (QPV), sont consacrées à des demandeurs du premier quartile de ressources à l’échelle régionale ou à des personnes relogées dans le cadre d’une opération </a:t>
            </a:r>
            <a:r>
              <a:rPr lang="fr-FR" sz="1400" dirty="0" err="1"/>
              <a:t>Anru</a:t>
            </a:r>
            <a:r>
              <a:rPr lang="fr-FR" sz="1400" dirty="0"/>
              <a:t> ou d’une </a:t>
            </a:r>
            <a:r>
              <a:rPr lang="fr-FR" sz="1400" dirty="0" err="1" smtClean="0"/>
              <a:t>Orcod</a:t>
            </a:r>
            <a:r>
              <a:rPr lang="fr-FR" sz="1400" dirty="0" smtClean="0"/>
              <a:t>-In.</a:t>
            </a:r>
            <a:endParaRPr lang="fr-FR" sz="1400" dirty="0"/>
          </a:p>
        </p:txBody>
      </p:sp>
      <p:sp>
        <p:nvSpPr>
          <p:cNvPr id="2" name="ZoneTexte 1">
            <a:extLst>
              <a:ext uri="{FF2B5EF4-FFF2-40B4-BE49-F238E27FC236}">
                <a16:creationId xmlns:a16="http://schemas.microsoft.com/office/drawing/2014/main" id="{696D3F76-92D8-4BED-BAC2-72E3FE4D2614}"/>
              </a:ext>
            </a:extLst>
          </p:cNvPr>
          <p:cNvSpPr txBox="1"/>
          <p:nvPr/>
        </p:nvSpPr>
        <p:spPr>
          <a:xfrm>
            <a:off x="10044545" y="6560019"/>
            <a:ext cx="2147455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050" i="1" dirty="0"/>
              <a:t>*EPCI concernés par la loi E&amp;C</a:t>
            </a:r>
          </a:p>
        </p:txBody>
      </p:sp>
    </p:spTree>
    <p:extLst>
      <p:ext uri="{BB962C8B-B14F-4D97-AF65-F5344CB8AC3E}">
        <p14:creationId xmlns:p14="http://schemas.microsoft.com/office/powerpoint/2010/main" val="34260368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3EE3DE46-DCC3-47F2-B156-5DB11354BB5E}"/>
              </a:ext>
            </a:extLst>
          </p:cNvPr>
          <p:cNvSpPr/>
          <p:nvPr/>
        </p:nvSpPr>
        <p:spPr>
          <a:xfrm>
            <a:off x="221672" y="492169"/>
            <a:ext cx="11517745" cy="369332"/>
          </a:xfrm>
          <a:prstGeom prst="rect">
            <a:avLst/>
          </a:prstGeom>
        </p:spPr>
        <p:txBody>
          <a:bodyPr vert="horz" lIns="0" tIns="45720" rIns="0" bIns="45720" rtlCol="0" anchor="ctr">
            <a:no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</a:pPr>
            <a:r>
              <a:rPr lang="fr-FR" sz="4000" dirty="0">
                <a:solidFill>
                  <a:schemeClr val="tx2"/>
                </a:solidFill>
                <a:latin typeface="Marianne" panose="02000000000000000000" pitchFamily="2" charset="0"/>
                <a:ea typeface="+mj-ea"/>
                <a:cs typeface="+mj-cs"/>
              </a:rPr>
              <a:t>EPCI: un rôle de chef de file dans la stratégie d’attribution des logements sociaux</a:t>
            </a:r>
          </a:p>
        </p:txBody>
      </p:sp>
      <p:sp>
        <p:nvSpPr>
          <p:cNvPr id="4" name="Rectangle : coins arrondis 3">
            <a:extLst>
              <a:ext uri="{FF2B5EF4-FFF2-40B4-BE49-F238E27FC236}">
                <a16:creationId xmlns:a16="http://schemas.microsoft.com/office/drawing/2014/main" id="{D1C940E8-8D48-4E2F-9536-10E1E19A4208}"/>
              </a:ext>
            </a:extLst>
          </p:cNvPr>
          <p:cNvSpPr/>
          <p:nvPr/>
        </p:nvSpPr>
        <p:spPr>
          <a:xfrm>
            <a:off x="905164" y="1790387"/>
            <a:ext cx="1283854" cy="757381"/>
          </a:xfrm>
          <a:prstGeom prst="roundRect">
            <a:avLst/>
          </a:prstGeom>
          <a:noFill/>
          <a:ln>
            <a:solidFill>
              <a:srgbClr val="FADD7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>
                <a:solidFill>
                  <a:schemeClr val="accent6"/>
                </a:solidFill>
              </a:rPr>
              <a:t>PLH</a:t>
            </a:r>
          </a:p>
        </p:txBody>
      </p:sp>
      <p:sp>
        <p:nvSpPr>
          <p:cNvPr id="11" name="Rectangle : coins arrondis 10">
            <a:extLst>
              <a:ext uri="{FF2B5EF4-FFF2-40B4-BE49-F238E27FC236}">
                <a16:creationId xmlns:a16="http://schemas.microsoft.com/office/drawing/2014/main" id="{81630471-4B1D-415F-861F-5DD0017A610C}"/>
              </a:ext>
            </a:extLst>
          </p:cNvPr>
          <p:cNvSpPr/>
          <p:nvPr/>
        </p:nvSpPr>
        <p:spPr>
          <a:xfrm>
            <a:off x="905164" y="3462457"/>
            <a:ext cx="1283854" cy="757381"/>
          </a:xfrm>
          <a:prstGeom prst="roundRect">
            <a:avLst/>
          </a:prstGeom>
          <a:noFill/>
          <a:ln>
            <a:solidFill>
              <a:srgbClr val="FADD7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>
                <a:solidFill>
                  <a:schemeClr val="accent6"/>
                </a:solidFill>
              </a:rPr>
              <a:t>PLUi</a:t>
            </a:r>
          </a:p>
        </p:txBody>
      </p:sp>
      <p:sp>
        <p:nvSpPr>
          <p:cNvPr id="12" name="Rectangle : coins arrondis 11">
            <a:extLst>
              <a:ext uri="{FF2B5EF4-FFF2-40B4-BE49-F238E27FC236}">
                <a16:creationId xmlns:a16="http://schemas.microsoft.com/office/drawing/2014/main" id="{76E8C396-78E4-4FB0-B931-BA693E468AA4}"/>
              </a:ext>
            </a:extLst>
          </p:cNvPr>
          <p:cNvSpPr/>
          <p:nvPr/>
        </p:nvSpPr>
        <p:spPr>
          <a:xfrm>
            <a:off x="4391887" y="3884811"/>
            <a:ext cx="1283854" cy="334486"/>
          </a:xfrm>
          <a:prstGeom prst="roundRect">
            <a:avLst/>
          </a:prstGeom>
          <a:noFill/>
          <a:ln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>
                <a:solidFill>
                  <a:srgbClr val="0070C0"/>
                </a:solidFill>
              </a:rPr>
              <a:t>CIL</a:t>
            </a:r>
          </a:p>
        </p:txBody>
      </p:sp>
      <p:sp>
        <p:nvSpPr>
          <p:cNvPr id="13" name="Rectangle : coins arrondis 12">
            <a:extLst>
              <a:ext uri="{FF2B5EF4-FFF2-40B4-BE49-F238E27FC236}">
                <a16:creationId xmlns:a16="http://schemas.microsoft.com/office/drawing/2014/main" id="{C589A80D-2116-4B64-8EE1-6193F4FF8BE0}"/>
              </a:ext>
            </a:extLst>
          </p:cNvPr>
          <p:cNvSpPr/>
          <p:nvPr/>
        </p:nvSpPr>
        <p:spPr>
          <a:xfrm>
            <a:off x="3990106" y="5003448"/>
            <a:ext cx="1625600" cy="506873"/>
          </a:xfrm>
          <a:prstGeom prst="roundRect">
            <a:avLst/>
          </a:prstGeom>
          <a:noFill/>
          <a:ln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>
                <a:solidFill>
                  <a:srgbClr val="0070C0"/>
                </a:solidFill>
              </a:rPr>
              <a:t>Orientations</a:t>
            </a:r>
          </a:p>
        </p:txBody>
      </p:sp>
      <p:sp>
        <p:nvSpPr>
          <p:cNvPr id="14" name="Rectangle : coins arrondis 13">
            <a:extLst>
              <a:ext uri="{FF2B5EF4-FFF2-40B4-BE49-F238E27FC236}">
                <a16:creationId xmlns:a16="http://schemas.microsoft.com/office/drawing/2014/main" id="{A7319646-F8C1-4394-824A-17E27FBD0133}"/>
              </a:ext>
            </a:extLst>
          </p:cNvPr>
          <p:cNvSpPr/>
          <p:nvPr/>
        </p:nvSpPr>
        <p:spPr>
          <a:xfrm>
            <a:off x="3348179" y="6110953"/>
            <a:ext cx="1283854" cy="506874"/>
          </a:xfrm>
          <a:prstGeom prst="roundRect">
            <a:avLst/>
          </a:prstGeom>
          <a:noFill/>
          <a:ln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>
                <a:solidFill>
                  <a:srgbClr val="0070C0"/>
                </a:solidFill>
              </a:rPr>
              <a:t>CIA</a:t>
            </a:r>
          </a:p>
        </p:txBody>
      </p:sp>
      <p:sp>
        <p:nvSpPr>
          <p:cNvPr id="16" name="Rectangle : coins arrondis 15">
            <a:extLst>
              <a:ext uri="{FF2B5EF4-FFF2-40B4-BE49-F238E27FC236}">
                <a16:creationId xmlns:a16="http://schemas.microsoft.com/office/drawing/2014/main" id="{1478201D-1762-488E-9DA1-1C76FDFAB0FD}"/>
              </a:ext>
            </a:extLst>
          </p:cNvPr>
          <p:cNvSpPr/>
          <p:nvPr/>
        </p:nvSpPr>
        <p:spPr>
          <a:xfrm>
            <a:off x="8238837" y="1765824"/>
            <a:ext cx="1283854" cy="757381"/>
          </a:xfrm>
          <a:prstGeom prst="roundRect">
            <a:avLst/>
          </a:prstGeom>
          <a:noFill/>
          <a:ln>
            <a:solidFill>
              <a:srgbClr val="DB4B9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>
                <a:solidFill>
                  <a:srgbClr val="DB4B93"/>
                </a:solidFill>
              </a:rPr>
              <a:t>CALEOL</a:t>
            </a:r>
          </a:p>
        </p:txBody>
      </p:sp>
      <p:sp>
        <p:nvSpPr>
          <p:cNvPr id="17" name="Rectangle : coins arrondis 16">
            <a:extLst>
              <a:ext uri="{FF2B5EF4-FFF2-40B4-BE49-F238E27FC236}">
                <a16:creationId xmlns:a16="http://schemas.microsoft.com/office/drawing/2014/main" id="{F5428809-6671-4B31-8649-9BF28773E74D}"/>
              </a:ext>
            </a:extLst>
          </p:cNvPr>
          <p:cNvSpPr/>
          <p:nvPr/>
        </p:nvSpPr>
        <p:spPr>
          <a:xfrm>
            <a:off x="7994075" y="4008976"/>
            <a:ext cx="3269649" cy="575806"/>
          </a:xfrm>
          <a:prstGeom prst="roundRect">
            <a:avLst/>
          </a:prstGeom>
          <a:noFill/>
          <a:ln>
            <a:solidFill>
              <a:srgbClr val="1D967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>
                <a:solidFill>
                  <a:srgbClr val="1D967F"/>
                </a:solidFill>
              </a:rPr>
              <a:t>Flux annuel d’attribution</a:t>
            </a:r>
          </a:p>
        </p:txBody>
      </p:sp>
      <p:sp>
        <p:nvSpPr>
          <p:cNvPr id="18" name="Rectangle : coins arrondis 17">
            <a:extLst>
              <a:ext uri="{FF2B5EF4-FFF2-40B4-BE49-F238E27FC236}">
                <a16:creationId xmlns:a16="http://schemas.microsoft.com/office/drawing/2014/main" id="{3DE1573E-0ED3-4D7D-85EC-8AA858C232E2}"/>
              </a:ext>
            </a:extLst>
          </p:cNvPr>
          <p:cNvSpPr/>
          <p:nvPr/>
        </p:nvSpPr>
        <p:spPr>
          <a:xfrm>
            <a:off x="7994056" y="4998266"/>
            <a:ext cx="3269657" cy="668806"/>
          </a:xfrm>
          <a:prstGeom prst="roundRect">
            <a:avLst/>
          </a:prstGeom>
          <a:noFill/>
          <a:ln>
            <a:solidFill>
              <a:srgbClr val="1D967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>
                <a:solidFill>
                  <a:srgbClr val="1D967F"/>
                </a:solidFill>
              </a:rPr>
              <a:t>Conventions de réservations en flux au sein de l’EPCI</a:t>
            </a:r>
          </a:p>
        </p:txBody>
      </p:sp>
      <p:cxnSp>
        <p:nvCxnSpPr>
          <p:cNvPr id="6" name="Connecteur droit avec flèche 5">
            <a:extLst>
              <a:ext uri="{FF2B5EF4-FFF2-40B4-BE49-F238E27FC236}">
                <a16:creationId xmlns:a16="http://schemas.microsoft.com/office/drawing/2014/main" id="{317B1889-910E-4784-B703-E21294574020}"/>
              </a:ext>
            </a:extLst>
          </p:cNvPr>
          <p:cNvCxnSpPr/>
          <p:nvPr/>
        </p:nvCxnSpPr>
        <p:spPr>
          <a:xfrm flipH="1">
            <a:off x="2346037" y="2198257"/>
            <a:ext cx="1191491" cy="0"/>
          </a:xfrm>
          <a:prstGeom prst="straightConnector1">
            <a:avLst/>
          </a:prstGeom>
          <a:ln w="28575">
            <a:solidFill>
              <a:srgbClr val="FADD7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Connecteur droit avec flèche 18">
            <a:extLst>
              <a:ext uri="{FF2B5EF4-FFF2-40B4-BE49-F238E27FC236}">
                <a16:creationId xmlns:a16="http://schemas.microsoft.com/office/drawing/2014/main" id="{59611D01-5985-47CC-BC79-AA10FEE5CA6D}"/>
              </a:ext>
            </a:extLst>
          </p:cNvPr>
          <p:cNvCxnSpPr>
            <a:cxnSpLocks/>
          </p:cNvCxnSpPr>
          <p:nvPr/>
        </p:nvCxnSpPr>
        <p:spPr>
          <a:xfrm flipV="1">
            <a:off x="1547090" y="2709691"/>
            <a:ext cx="1" cy="752766"/>
          </a:xfrm>
          <a:prstGeom prst="straightConnector1">
            <a:avLst/>
          </a:prstGeom>
          <a:ln w="28575">
            <a:solidFill>
              <a:srgbClr val="FADD7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Connecteur droit avec flèche 22">
            <a:extLst>
              <a:ext uri="{FF2B5EF4-FFF2-40B4-BE49-F238E27FC236}">
                <a16:creationId xmlns:a16="http://schemas.microsoft.com/office/drawing/2014/main" id="{53CF3045-8095-43EE-8337-1A250871F4D8}"/>
              </a:ext>
            </a:extLst>
          </p:cNvPr>
          <p:cNvCxnSpPr/>
          <p:nvPr/>
        </p:nvCxnSpPr>
        <p:spPr>
          <a:xfrm flipH="1">
            <a:off x="2346037" y="3821492"/>
            <a:ext cx="1191491" cy="0"/>
          </a:xfrm>
          <a:prstGeom prst="straightConnector1">
            <a:avLst/>
          </a:prstGeom>
          <a:ln w="28575">
            <a:solidFill>
              <a:srgbClr val="FADD7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Connecteur droit avec flèche 23">
            <a:extLst>
              <a:ext uri="{FF2B5EF4-FFF2-40B4-BE49-F238E27FC236}">
                <a16:creationId xmlns:a16="http://schemas.microsoft.com/office/drawing/2014/main" id="{92E00C5A-989A-4B01-9B75-369456DE248C}"/>
              </a:ext>
            </a:extLst>
          </p:cNvPr>
          <p:cNvCxnSpPr>
            <a:cxnSpLocks/>
          </p:cNvCxnSpPr>
          <p:nvPr/>
        </p:nvCxnSpPr>
        <p:spPr>
          <a:xfrm>
            <a:off x="5440203" y="2144515"/>
            <a:ext cx="2632379" cy="0"/>
          </a:xfrm>
          <a:prstGeom prst="straightConnector1">
            <a:avLst/>
          </a:prstGeom>
          <a:ln w="28575">
            <a:solidFill>
              <a:srgbClr val="DB4B9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Connecteur droit avec flèche 26">
            <a:extLst>
              <a:ext uri="{FF2B5EF4-FFF2-40B4-BE49-F238E27FC236}">
                <a16:creationId xmlns:a16="http://schemas.microsoft.com/office/drawing/2014/main" id="{605FB201-90FB-445C-877A-F39F82607EA8}"/>
              </a:ext>
            </a:extLst>
          </p:cNvPr>
          <p:cNvCxnSpPr>
            <a:cxnSpLocks/>
          </p:cNvCxnSpPr>
          <p:nvPr/>
        </p:nvCxnSpPr>
        <p:spPr>
          <a:xfrm>
            <a:off x="3828472" y="3462457"/>
            <a:ext cx="3" cy="2523243"/>
          </a:xfrm>
          <a:prstGeom prst="straightConnector1">
            <a:avLst/>
          </a:prstGeom>
          <a:ln w="28575"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Connecteur droit avec flèche 29">
            <a:extLst>
              <a:ext uri="{FF2B5EF4-FFF2-40B4-BE49-F238E27FC236}">
                <a16:creationId xmlns:a16="http://schemas.microsoft.com/office/drawing/2014/main" id="{561E8E70-2208-4B3B-9F15-9234FFBBFDD8}"/>
              </a:ext>
            </a:extLst>
          </p:cNvPr>
          <p:cNvCxnSpPr>
            <a:cxnSpLocks/>
          </p:cNvCxnSpPr>
          <p:nvPr/>
        </p:nvCxnSpPr>
        <p:spPr>
          <a:xfrm flipH="1">
            <a:off x="4197923" y="5667071"/>
            <a:ext cx="3" cy="318628"/>
          </a:xfrm>
          <a:prstGeom prst="straightConnector1">
            <a:avLst/>
          </a:prstGeom>
          <a:ln w="28575"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Connecteur droit avec flèche 31">
            <a:extLst>
              <a:ext uri="{FF2B5EF4-FFF2-40B4-BE49-F238E27FC236}">
                <a16:creationId xmlns:a16="http://schemas.microsoft.com/office/drawing/2014/main" id="{446BE02E-D1ED-49BE-90D8-99383C27B5EB}"/>
              </a:ext>
            </a:extLst>
          </p:cNvPr>
          <p:cNvCxnSpPr>
            <a:cxnSpLocks/>
          </p:cNvCxnSpPr>
          <p:nvPr/>
        </p:nvCxnSpPr>
        <p:spPr>
          <a:xfrm>
            <a:off x="4197921" y="3506661"/>
            <a:ext cx="3" cy="1403029"/>
          </a:xfrm>
          <a:prstGeom prst="straightConnector1">
            <a:avLst/>
          </a:prstGeom>
          <a:ln w="28575"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Connecteur droit avec flèche 33">
            <a:extLst>
              <a:ext uri="{FF2B5EF4-FFF2-40B4-BE49-F238E27FC236}">
                <a16:creationId xmlns:a16="http://schemas.microsoft.com/office/drawing/2014/main" id="{3B8E9E5A-23E8-4B01-B39C-979D3ACD5684}"/>
              </a:ext>
            </a:extLst>
          </p:cNvPr>
          <p:cNvCxnSpPr>
            <a:cxnSpLocks/>
          </p:cNvCxnSpPr>
          <p:nvPr/>
        </p:nvCxnSpPr>
        <p:spPr>
          <a:xfrm>
            <a:off x="5043046" y="4332920"/>
            <a:ext cx="0" cy="628247"/>
          </a:xfrm>
          <a:prstGeom prst="straightConnector1">
            <a:avLst/>
          </a:prstGeom>
          <a:ln w="28575"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Connecteur droit avec flèche 34">
            <a:extLst>
              <a:ext uri="{FF2B5EF4-FFF2-40B4-BE49-F238E27FC236}">
                <a16:creationId xmlns:a16="http://schemas.microsoft.com/office/drawing/2014/main" id="{7A783AD3-5EF1-496D-A551-82630E5804EA}"/>
              </a:ext>
            </a:extLst>
          </p:cNvPr>
          <p:cNvCxnSpPr>
            <a:cxnSpLocks/>
          </p:cNvCxnSpPr>
          <p:nvPr/>
        </p:nvCxnSpPr>
        <p:spPr>
          <a:xfrm>
            <a:off x="5033814" y="3506661"/>
            <a:ext cx="0" cy="334486"/>
          </a:xfrm>
          <a:prstGeom prst="straightConnector1">
            <a:avLst/>
          </a:prstGeom>
          <a:ln w="28575"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Connecteur droit avec flèche 38">
            <a:extLst>
              <a:ext uri="{FF2B5EF4-FFF2-40B4-BE49-F238E27FC236}">
                <a16:creationId xmlns:a16="http://schemas.microsoft.com/office/drawing/2014/main" id="{186743DA-C693-4D07-B552-8548C85A3D13}"/>
              </a:ext>
            </a:extLst>
          </p:cNvPr>
          <p:cNvCxnSpPr>
            <a:cxnSpLocks/>
          </p:cNvCxnSpPr>
          <p:nvPr/>
        </p:nvCxnSpPr>
        <p:spPr>
          <a:xfrm>
            <a:off x="5823523" y="4315352"/>
            <a:ext cx="2018150" cy="0"/>
          </a:xfrm>
          <a:prstGeom prst="straightConnector1">
            <a:avLst/>
          </a:prstGeom>
          <a:ln w="28575">
            <a:solidFill>
              <a:srgbClr val="1D967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Connecteur droit avec flèche 41">
            <a:extLst>
              <a:ext uri="{FF2B5EF4-FFF2-40B4-BE49-F238E27FC236}">
                <a16:creationId xmlns:a16="http://schemas.microsoft.com/office/drawing/2014/main" id="{9BF7B2B7-383C-4B3F-B46E-01D51D1195BC}"/>
              </a:ext>
            </a:extLst>
          </p:cNvPr>
          <p:cNvCxnSpPr>
            <a:cxnSpLocks/>
          </p:cNvCxnSpPr>
          <p:nvPr/>
        </p:nvCxnSpPr>
        <p:spPr>
          <a:xfrm flipH="1">
            <a:off x="5823523" y="5280552"/>
            <a:ext cx="1962716" cy="0"/>
          </a:xfrm>
          <a:prstGeom prst="straightConnector1">
            <a:avLst/>
          </a:prstGeom>
          <a:ln w="28575"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Rectangle : coins arrondis 44">
            <a:extLst>
              <a:ext uri="{FF2B5EF4-FFF2-40B4-BE49-F238E27FC236}">
                <a16:creationId xmlns:a16="http://schemas.microsoft.com/office/drawing/2014/main" id="{310AEF55-4B80-4519-B764-D0DDD7BA0887}"/>
              </a:ext>
            </a:extLst>
          </p:cNvPr>
          <p:cNvSpPr/>
          <p:nvPr/>
        </p:nvSpPr>
        <p:spPr>
          <a:xfrm>
            <a:off x="3694547" y="1747212"/>
            <a:ext cx="1625598" cy="1634196"/>
          </a:xfrm>
          <a:prstGeom prst="roundRect">
            <a:avLst/>
          </a:prstGeom>
          <a:solidFill>
            <a:schemeClr val="tx2">
              <a:lumMod val="20000"/>
              <a:lumOff val="80000"/>
            </a:schemeClr>
          </a:solidFill>
          <a:ln w="190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>
                <a:solidFill>
                  <a:schemeClr val="tx2"/>
                </a:solidFill>
              </a:rPr>
              <a:t>EPCI</a:t>
            </a:r>
          </a:p>
        </p:txBody>
      </p:sp>
      <p:sp>
        <p:nvSpPr>
          <p:cNvPr id="46" name="ZoneTexte 45">
            <a:extLst>
              <a:ext uri="{FF2B5EF4-FFF2-40B4-BE49-F238E27FC236}">
                <a16:creationId xmlns:a16="http://schemas.microsoft.com/office/drawing/2014/main" id="{224D56A2-7F26-4C2B-82E7-73553F5459DB}"/>
              </a:ext>
            </a:extLst>
          </p:cNvPr>
          <p:cNvSpPr txBox="1"/>
          <p:nvPr/>
        </p:nvSpPr>
        <p:spPr>
          <a:xfrm>
            <a:off x="6428516" y="1836737"/>
            <a:ext cx="144086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400" i="1" dirty="0">
                <a:solidFill>
                  <a:srgbClr val="DB4B93"/>
                </a:solidFill>
              </a:rPr>
              <a:t>Membre</a:t>
            </a:r>
          </a:p>
        </p:txBody>
      </p:sp>
      <p:sp>
        <p:nvSpPr>
          <p:cNvPr id="47" name="ZoneTexte 46">
            <a:extLst>
              <a:ext uri="{FF2B5EF4-FFF2-40B4-BE49-F238E27FC236}">
                <a16:creationId xmlns:a16="http://schemas.microsoft.com/office/drawing/2014/main" id="{2B6CA6D7-4A1F-4253-86DD-F6CA5208112D}"/>
              </a:ext>
            </a:extLst>
          </p:cNvPr>
          <p:cNvSpPr txBox="1"/>
          <p:nvPr/>
        </p:nvSpPr>
        <p:spPr>
          <a:xfrm>
            <a:off x="6400806" y="3995968"/>
            <a:ext cx="144086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400" i="1" dirty="0">
                <a:solidFill>
                  <a:srgbClr val="1D967F"/>
                </a:solidFill>
              </a:rPr>
              <a:t>Evalue </a:t>
            </a:r>
          </a:p>
        </p:txBody>
      </p:sp>
      <p:sp>
        <p:nvSpPr>
          <p:cNvPr id="48" name="ZoneTexte 47">
            <a:extLst>
              <a:ext uri="{FF2B5EF4-FFF2-40B4-BE49-F238E27FC236}">
                <a16:creationId xmlns:a16="http://schemas.microsoft.com/office/drawing/2014/main" id="{35EA2BA2-DDBE-4A36-8692-68767599968B}"/>
              </a:ext>
            </a:extLst>
          </p:cNvPr>
          <p:cNvSpPr txBox="1"/>
          <p:nvPr/>
        </p:nvSpPr>
        <p:spPr>
          <a:xfrm>
            <a:off x="6345372" y="4974168"/>
            <a:ext cx="144086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400" i="1" dirty="0">
                <a:solidFill>
                  <a:srgbClr val="0070C0"/>
                </a:solidFill>
              </a:rPr>
              <a:t>Compatible</a:t>
            </a:r>
          </a:p>
        </p:txBody>
      </p:sp>
      <p:cxnSp>
        <p:nvCxnSpPr>
          <p:cNvPr id="49" name="Connecteur droit avec flèche 48">
            <a:extLst>
              <a:ext uri="{FF2B5EF4-FFF2-40B4-BE49-F238E27FC236}">
                <a16:creationId xmlns:a16="http://schemas.microsoft.com/office/drawing/2014/main" id="{88A486AE-D301-4FF8-8BD8-CFC2E3C55549}"/>
              </a:ext>
            </a:extLst>
          </p:cNvPr>
          <p:cNvCxnSpPr>
            <a:cxnSpLocks/>
          </p:cNvCxnSpPr>
          <p:nvPr/>
        </p:nvCxnSpPr>
        <p:spPr>
          <a:xfrm flipV="1">
            <a:off x="9522691" y="4640697"/>
            <a:ext cx="0" cy="268993"/>
          </a:xfrm>
          <a:prstGeom prst="straightConnector1">
            <a:avLst/>
          </a:prstGeom>
          <a:ln w="28575">
            <a:solidFill>
              <a:srgbClr val="1D967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ZoneTexte 51">
            <a:extLst>
              <a:ext uri="{FF2B5EF4-FFF2-40B4-BE49-F238E27FC236}">
                <a16:creationId xmlns:a16="http://schemas.microsoft.com/office/drawing/2014/main" id="{BA0A1D0A-A2A0-41D5-AEFE-9FFA9D78F37B}"/>
              </a:ext>
            </a:extLst>
          </p:cNvPr>
          <p:cNvSpPr txBox="1"/>
          <p:nvPr/>
        </p:nvSpPr>
        <p:spPr>
          <a:xfrm>
            <a:off x="9628884" y="4630285"/>
            <a:ext cx="144086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400" i="1" dirty="0">
                <a:solidFill>
                  <a:srgbClr val="1D967F"/>
                </a:solidFill>
              </a:rPr>
              <a:t>Fixe</a:t>
            </a:r>
          </a:p>
        </p:txBody>
      </p:sp>
      <p:sp>
        <p:nvSpPr>
          <p:cNvPr id="53" name="ZoneTexte 52">
            <a:extLst>
              <a:ext uri="{FF2B5EF4-FFF2-40B4-BE49-F238E27FC236}">
                <a16:creationId xmlns:a16="http://schemas.microsoft.com/office/drawing/2014/main" id="{3E9E2F2F-6F3C-4C42-B826-2B2200C26387}"/>
              </a:ext>
            </a:extLst>
          </p:cNvPr>
          <p:cNvSpPr txBox="1"/>
          <p:nvPr/>
        </p:nvSpPr>
        <p:spPr>
          <a:xfrm>
            <a:off x="2724734" y="4663442"/>
            <a:ext cx="144086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400" i="1" dirty="0">
                <a:solidFill>
                  <a:srgbClr val="0070C0"/>
                </a:solidFill>
              </a:rPr>
              <a:t>Co-élabore</a:t>
            </a:r>
          </a:p>
          <a:p>
            <a:r>
              <a:rPr lang="fr-FR" sz="1400" i="1" dirty="0">
                <a:solidFill>
                  <a:srgbClr val="0070C0"/>
                </a:solidFill>
              </a:rPr>
              <a:t>Co-signe</a:t>
            </a:r>
          </a:p>
        </p:txBody>
      </p:sp>
      <p:sp>
        <p:nvSpPr>
          <p:cNvPr id="54" name="ZoneTexte 53">
            <a:extLst>
              <a:ext uri="{FF2B5EF4-FFF2-40B4-BE49-F238E27FC236}">
                <a16:creationId xmlns:a16="http://schemas.microsoft.com/office/drawing/2014/main" id="{076FB292-101B-4330-AC4F-A61C7E0D5B1A}"/>
              </a:ext>
            </a:extLst>
          </p:cNvPr>
          <p:cNvSpPr txBox="1"/>
          <p:nvPr/>
        </p:nvSpPr>
        <p:spPr>
          <a:xfrm>
            <a:off x="3865420" y="4332920"/>
            <a:ext cx="951333" cy="30777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fr-FR" sz="1400" i="1" dirty="0">
                <a:solidFill>
                  <a:srgbClr val="0070C0"/>
                </a:solidFill>
              </a:rPr>
              <a:t>Approuve</a:t>
            </a:r>
          </a:p>
        </p:txBody>
      </p:sp>
      <p:sp>
        <p:nvSpPr>
          <p:cNvPr id="60" name="ZoneTexte 59">
            <a:extLst>
              <a:ext uri="{FF2B5EF4-FFF2-40B4-BE49-F238E27FC236}">
                <a16:creationId xmlns:a16="http://schemas.microsoft.com/office/drawing/2014/main" id="{9C3B9940-F2DB-4527-A8F6-871412492D92}"/>
              </a:ext>
            </a:extLst>
          </p:cNvPr>
          <p:cNvSpPr txBox="1"/>
          <p:nvPr/>
        </p:nvSpPr>
        <p:spPr>
          <a:xfrm>
            <a:off x="5068472" y="4436341"/>
            <a:ext cx="1440867" cy="30777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fr-FR" sz="1400" i="1" dirty="0">
                <a:solidFill>
                  <a:srgbClr val="0070C0"/>
                </a:solidFill>
              </a:rPr>
              <a:t>Adopte</a:t>
            </a:r>
          </a:p>
        </p:txBody>
      </p:sp>
      <p:sp>
        <p:nvSpPr>
          <p:cNvPr id="66" name="ZoneTexte 65">
            <a:extLst>
              <a:ext uri="{FF2B5EF4-FFF2-40B4-BE49-F238E27FC236}">
                <a16:creationId xmlns:a16="http://schemas.microsoft.com/office/drawing/2014/main" id="{366D3178-73D4-4FC2-9209-22799A56E4A8}"/>
              </a:ext>
            </a:extLst>
          </p:cNvPr>
          <p:cNvSpPr txBox="1"/>
          <p:nvPr/>
        </p:nvSpPr>
        <p:spPr>
          <a:xfrm>
            <a:off x="5149271" y="3490291"/>
            <a:ext cx="1440867" cy="30777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fr-FR" sz="1400" i="1" dirty="0">
                <a:solidFill>
                  <a:srgbClr val="0070C0"/>
                </a:solidFill>
              </a:rPr>
              <a:t>Co-préside</a:t>
            </a:r>
          </a:p>
        </p:txBody>
      </p:sp>
      <p:sp>
        <p:nvSpPr>
          <p:cNvPr id="67" name="ZoneTexte 66">
            <a:extLst>
              <a:ext uri="{FF2B5EF4-FFF2-40B4-BE49-F238E27FC236}">
                <a16:creationId xmlns:a16="http://schemas.microsoft.com/office/drawing/2014/main" id="{EA8CFAF1-99A2-4356-A891-0A15B66D24DA}"/>
              </a:ext>
            </a:extLst>
          </p:cNvPr>
          <p:cNvSpPr txBox="1"/>
          <p:nvPr/>
        </p:nvSpPr>
        <p:spPr>
          <a:xfrm>
            <a:off x="2558472" y="1874366"/>
            <a:ext cx="144086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400" i="1" dirty="0">
                <a:solidFill>
                  <a:schemeClr val="accent6"/>
                </a:solidFill>
              </a:rPr>
              <a:t>Elabore</a:t>
            </a:r>
          </a:p>
        </p:txBody>
      </p:sp>
      <p:sp>
        <p:nvSpPr>
          <p:cNvPr id="68" name="ZoneTexte 67">
            <a:extLst>
              <a:ext uri="{FF2B5EF4-FFF2-40B4-BE49-F238E27FC236}">
                <a16:creationId xmlns:a16="http://schemas.microsoft.com/office/drawing/2014/main" id="{FE0AE91A-3DFB-44AA-8E18-EBE1976597B6}"/>
              </a:ext>
            </a:extLst>
          </p:cNvPr>
          <p:cNvSpPr txBox="1"/>
          <p:nvPr/>
        </p:nvSpPr>
        <p:spPr>
          <a:xfrm>
            <a:off x="2558472" y="3495031"/>
            <a:ext cx="144086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400" i="1" dirty="0">
                <a:solidFill>
                  <a:schemeClr val="accent6"/>
                </a:solidFill>
              </a:rPr>
              <a:t>Elabore</a:t>
            </a:r>
          </a:p>
        </p:txBody>
      </p:sp>
      <p:sp>
        <p:nvSpPr>
          <p:cNvPr id="69" name="ZoneTexte 68">
            <a:extLst>
              <a:ext uri="{FF2B5EF4-FFF2-40B4-BE49-F238E27FC236}">
                <a16:creationId xmlns:a16="http://schemas.microsoft.com/office/drawing/2014/main" id="{3C3BB84E-4DFD-4F26-93E3-84AB24E925A4}"/>
              </a:ext>
            </a:extLst>
          </p:cNvPr>
          <p:cNvSpPr txBox="1"/>
          <p:nvPr/>
        </p:nvSpPr>
        <p:spPr>
          <a:xfrm>
            <a:off x="1547090" y="2951024"/>
            <a:ext cx="144086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400" i="1" dirty="0">
                <a:solidFill>
                  <a:schemeClr val="accent6"/>
                </a:solidFill>
              </a:rPr>
              <a:t>Compatible</a:t>
            </a:r>
          </a:p>
        </p:txBody>
      </p:sp>
    </p:spTree>
    <p:extLst>
      <p:ext uri="{BB962C8B-B14F-4D97-AF65-F5344CB8AC3E}">
        <p14:creationId xmlns:p14="http://schemas.microsoft.com/office/powerpoint/2010/main" val="246920407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Espace réservé du numéro de diapositive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3122C9-A0B9-462F-8757-0847AD287B63}" type="slidenum">
              <a:rPr lang="fr-FR" smtClean="0">
                <a:latin typeface="Marianne" panose="02000000000000000000" pitchFamily="2" charset="0"/>
              </a:rPr>
              <a:pPr/>
              <a:t>5</a:t>
            </a:fld>
            <a:endParaRPr lang="fr-FR" dirty="0">
              <a:latin typeface="Marianne" panose="02000000000000000000" pitchFamily="2" charset="0"/>
            </a:endParaRPr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F68F9E10-0847-C84E-A00D-4E630B5DE25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801" y="254626"/>
            <a:ext cx="11233151" cy="719988"/>
          </a:xfrm>
        </p:spPr>
        <p:txBody>
          <a:bodyPr>
            <a:normAutofit fontScale="90000"/>
          </a:bodyPr>
          <a:lstStyle/>
          <a:p>
            <a:r>
              <a:rPr lang="fr-FR" dirty="0">
                <a:latin typeface="Marianne" panose="02000000000000000000" pitchFamily="2" charset="0"/>
              </a:rPr>
              <a:t>D’un système de réservations en stock, vers du flux…</a:t>
            </a:r>
          </a:p>
        </p:txBody>
      </p:sp>
      <p:grpSp>
        <p:nvGrpSpPr>
          <p:cNvPr id="49" name="Group 91">
            <a:extLst>
              <a:ext uri="{FF2B5EF4-FFF2-40B4-BE49-F238E27FC236}">
                <a16:creationId xmlns:a16="http://schemas.microsoft.com/office/drawing/2014/main" id="{E173DAEA-A345-D543-B2CD-F712EAE3F271}"/>
              </a:ext>
            </a:extLst>
          </p:cNvPr>
          <p:cNvGrpSpPr/>
          <p:nvPr/>
        </p:nvGrpSpPr>
        <p:grpSpPr>
          <a:xfrm>
            <a:off x="986716" y="4482274"/>
            <a:ext cx="944563" cy="942975"/>
            <a:chOff x="1970088" y="4926013"/>
            <a:chExt cx="944563" cy="942975"/>
          </a:xfrm>
        </p:grpSpPr>
        <p:sp>
          <p:nvSpPr>
            <p:cNvPr id="50" name="Oval 40">
              <a:extLst>
                <a:ext uri="{FF2B5EF4-FFF2-40B4-BE49-F238E27FC236}">
                  <a16:creationId xmlns:a16="http://schemas.microsoft.com/office/drawing/2014/main" id="{AF48B6E3-DFA8-8441-A3A8-49DA28225B1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70088" y="4926013"/>
              <a:ext cx="944563" cy="942975"/>
            </a:xfrm>
            <a:prstGeom prst="ellipse">
              <a:avLst/>
            </a:prstGeom>
            <a:solidFill>
              <a:srgbClr val="FFFFFF"/>
            </a:solidFill>
            <a:ln w="50800" cap="flat">
              <a:solidFill>
                <a:schemeClr val="accent6">
                  <a:lumMod val="60000"/>
                  <a:lumOff val="40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1"/>
            </a:p>
          </p:txBody>
        </p:sp>
        <p:grpSp>
          <p:nvGrpSpPr>
            <p:cNvPr id="51" name="Group 45">
              <a:extLst>
                <a:ext uri="{FF2B5EF4-FFF2-40B4-BE49-F238E27FC236}">
                  <a16:creationId xmlns:a16="http://schemas.microsoft.com/office/drawing/2014/main" id="{6DAAF7FC-02D4-3349-9731-743E751EB295}"/>
                </a:ext>
              </a:extLst>
            </p:cNvPr>
            <p:cNvGrpSpPr/>
            <p:nvPr/>
          </p:nvGrpSpPr>
          <p:grpSpPr>
            <a:xfrm>
              <a:off x="2309094" y="5202131"/>
              <a:ext cx="266549" cy="390738"/>
              <a:chOff x="2388710" y="3738534"/>
              <a:chExt cx="266549" cy="390738"/>
            </a:xfrm>
            <a:solidFill>
              <a:schemeClr val="accent5"/>
            </a:solidFill>
          </p:grpSpPr>
          <p:sp>
            <p:nvSpPr>
              <p:cNvPr id="52" name="Freeform 243">
                <a:extLst>
                  <a:ext uri="{FF2B5EF4-FFF2-40B4-BE49-F238E27FC236}">
                    <a16:creationId xmlns:a16="http://schemas.microsoft.com/office/drawing/2014/main" id="{71D4E00C-A746-CA41-9AB9-A3276962614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11932" y="3738534"/>
                <a:ext cx="73705" cy="75724"/>
              </a:xfrm>
              <a:custGeom>
                <a:avLst/>
                <a:gdLst>
                  <a:gd name="T0" fmla="*/ 331 w 661"/>
                  <a:gd name="T1" fmla="*/ 0 h 670"/>
                  <a:gd name="T2" fmla="*/ 376 w 661"/>
                  <a:gd name="T3" fmla="*/ 2 h 670"/>
                  <a:gd name="T4" fmla="*/ 419 w 661"/>
                  <a:gd name="T5" fmla="*/ 12 h 670"/>
                  <a:gd name="T6" fmla="*/ 460 w 661"/>
                  <a:gd name="T7" fmla="*/ 26 h 670"/>
                  <a:gd name="T8" fmla="*/ 498 w 661"/>
                  <a:gd name="T9" fmla="*/ 45 h 670"/>
                  <a:gd name="T10" fmla="*/ 533 w 661"/>
                  <a:gd name="T11" fmla="*/ 69 h 670"/>
                  <a:gd name="T12" fmla="*/ 565 w 661"/>
                  <a:gd name="T13" fmla="*/ 97 h 670"/>
                  <a:gd name="T14" fmla="*/ 593 w 661"/>
                  <a:gd name="T15" fmla="*/ 130 h 670"/>
                  <a:gd name="T16" fmla="*/ 617 w 661"/>
                  <a:gd name="T17" fmla="*/ 165 h 670"/>
                  <a:gd name="T18" fmla="*/ 635 w 661"/>
                  <a:gd name="T19" fmla="*/ 204 h 670"/>
                  <a:gd name="T20" fmla="*/ 650 w 661"/>
                  <a:gd name="T21" fmla="*/ 245 h 670"/>
                  <a:gd name="T22" fmla="*/ 659 w 661"/>
                  <a:gd name="T23" fmla="*/ 289 h 670"/>
                  <a:gd name="T24" fmla="*/ 661 w 661"/>
                  <a:gd name="T25" fmla="*/ 335 h 670"/>
                  <a:gd name="T26" fmla="*/ 659 w 661"/>
                  <a:gd name="T27" fmla="*/ 380 h 670"/>
                  <a:gd name="T28" fmla="*/ 650 w 661"/>
                  <a:gd name="T29" fmla="*/ 424 h 670"/>
                  <a:gd name="T30" fmla="*/ 635 w 661"/>
                  <a:gd name="T31" fmla="*/ 466 h 670"/>
                  <a:gd name="T32" fmla="*/ 617 w 661"/>
                  <a:gd name="T33" fmla="*/ 504 h 670"/>
                  <a:gd name="T34" fmla="*/ 593 w 661"/>
                  <a:gd name="T35" fmla="*/ 539 h 670"/>
                  <a:gd name="T36" fmla="*/ 565 w 661"/>
                  <a:gd name="T37" fmla="*/ 572 h 670"/>
                  <a:gd name="T38" fmla="*/ 533 w 661"/>
                  <a:gd name="T39" fmla="*/ 601 h 670"/>
                  <a:gd name="T40" fmla="*/ 498 w 661"/>
                  <a:gd name="T41" fmla="*/ 625 h 670"/>
                  <a:gd name="T42" fmla="*/ 460 w 661"/>
                  <a:gd name="T43" fmla="*/ 643 h 670"/>
                  <a:gd name="T44" fmla="*/ 419 w 661"/>
                  <a:gd name="T45" fmla="*/ 658 h 670"/>
                  <a:gd name="T46" fmla="*/ 376 w 661"/>
                  <a:gd name="T47" fmla="*/ 667 h 670"/>
                  <a:gd name="T48" fmla="*/ 331 w 661"/>
                  <a:gd name="T49" fmla="*/ 670 h 670"/>
                  <a:gd name="T50" fmla="*/ 286 w 661"/>
                  <a:gd name="T51" fmla="*/ 667 h 670"/>
                  <a:gd name="T52" fmla="*/ 242 w 661"/>
                  <a:gd name="T53" fmla="*/ 658 h 670"/>
                  <a:gd name="T54" fmla="*/ 201 w 661"/>
                  <a:gd name="T55" fmla="*/ 643 h 670"/>
                  <a:gd name="T56" fmla="*/ 163 w 661"/>
                  <a:gd name="T57" fmla="*/ 625 h 670"/>
                  <a:gd name="T58" fmla="*/ 128 w 661"/>
                  <a:gd name="T59" fmla="*/ 601 h 670"/>
                  <a:gd name="T60" fmla="*/ 96 w 661"/>
                  <a:gd name="T61" fmla="*/ 572 h 670"/>
                  <a:gd name="T62" fmla="*/ 68 w 661"/>
                  <a:gd name="T63" fmla="*/ 539 h 670"/>
                  <a:gd name="T64" fmla="*/ 44 w 661"/>
                  <a:gd name="T65" fmla="*/ 504 h 670"/>
                  <a:gd name="T66" fmla="*/ 26 w 661"/>
                  <a:gd name="T67" fmla="*/ 466 h 670"/>
                  <a:gd name="T68" fmla="*/ 11 w 661"/>
                  <a:gd name="T69" fmla="*/ 424 h 670"/>
                  <a:gd name="T70" fmla="*/ 2 w 661"/>
                  <a:gd name="T71" fmla="*/ 380 h 670"/>
                  <a:gd name="T72" fmla="*/ 0 w 661"/>
                  <a:gd name="T73" fmla="*/ 335 h 670"/>
                  <a:gd name="T74" fmla="*/ 2 w 661"/>
                  <a:gd name="T75" fmla="*/ 289 h 670"/>
                  <a:gd name="T76" fmla="*/ 11 w 661"/>
                  <a:gd name="T77" fmla="*/ 245 h 670"/>
                  <a:gd name="T78" fmla="*/ 26 w 661"/>
                  <a:gd name="T79" fmla="*/ 204 h 670"/>
                  <a:gd name="T80" fmla="*/ 44 w 661"/>
                  <a:gd name="T81" fmla="*/ 165 h 670"/>
                  <a:gd name="T82" fmla="*/ 68 w 661"/>
                  <a:gd name="T83" fmla="*/ 130 h 670"/>
                  <a:gd name="T84" fmla="*/ 96 w 661"/>
                  <a:gd name="T85" fmla="*/ 97 h 670"/>
                  <a:gd name="T86" fmla="*/ 128 w 661"/>
                  <a:gd name="T87" fmla="*/ 69 h 670"/>
                  <a:gd name="T88" fmla="*/ 163 w 661"/>
                  <a:gd name="T89" fmla="*/ 45 h 670"/>
                  <a:gd name="T90" fmla="*/ 201 w 661"/>
                  <a:gd name="T91" fmla="*/ 26 h 670"/>
                  <a:gd name="T92" fmla="*/ 242 w 661"/>
                  <a:gd name="T93" fmla="*/ 12 h 670"/>
                  <a:gd name="T94" fmla="*/ 286 w 661"/>
                  <a:gd name="T95" fmla="*/ 2 h 670"/>
                  <a:gd name="T96" fmla="*/ 331 w 661"/>
                  <a:gd name="T97" fmla="*/ 0 h 6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661" h="670">
                    <a:moveTo>
                      <a:pt x="331" y="0"/>
                    </a:moveTo>
                    <a:lnTo>
                      <a:pt x="376" y="2"/>
                    </a:lnTo>
                    <a:lnTo>
                      <a:pt x="419" y="12"/>
                    </a:lnTo>
                    <a:lnTo>
                      <a:pt x="460" y="26"/>
                    </a:lnTo>
                    <a:lnTo>
                      <a:pt x="498" y="45"/>
                    </a:lnTo>
                    <a:lnTo>
                      <a:pt x="533" y="69"/>
                    </a:lnTo>
                    <a:lnTo>
                      <a:pt x="565" y="97"/>
                    </a:lnTo>
                    <a:lnTo>
                      <a:pt x="593" y="130"/>
                    </a:lnTo>
                    <a:lnTo>
                      <a:pt x="617" y="165"/>
                    </a:lnTo>
                    <a:lnTo>
                      <a:pt x="635" y="204"/>
                    </a:lnTo>
                    <a:lnTo>
                      <a:pt x="650" y="245"/>
                    </a:lnTo>
                    <a:lnTo>
                      <a:pt x="659" y="289"/>
                    </a:lnTo>
                    <a:lnTo>
                      <a:pt x="661" y="335"/>
                    </a:lnTo>
                    <a:lnTo>
                      <a:pt x="659" y="380"/>
                    </a:lnTo>
                    <a:lnTo>
                      <a:pt x="650" y="424"/>
                    </a:lnTo>
                    <a:lnTo>
                      <a:pt x="635" y="466"/>
                    </a:lnTo>
                    <a:lnTo>
                      <a:pt x="617" y="504"/>
                    </a:lnTo>
                    <a:lnTo>
                      <a:pt x="593" y="539"/>
                    </a:lnTo>
                    <a:lnTo>
                      <a:pt x="565" y="572"/>
                    </a:lnTo>
                    <a:lnTo>
                      <a:pt x="533" y="601"/>
                    </a:lnTo>
                    <a:lnTo>
                      <a:pt x="498" y="625"/>
                    </a:lnTo>
                    <a:lnTo>
                      <a:pt x="460" y="643"/>
                    </a:lnTo>
                    <a:lnTo>
                      <a:pt x="419" y="658"/>
                    </a:lnTo>
                    <a:lnTo>
                      <a:pt x="376" y="667"/>
                    </a:lnTo>
                    <a:lnTo>
                      <a:pt x="331" y="670"/>
                    </a:lnTo>
                    <a:lnTo>
                      <a:pt x="286" y="667"/>
                    </a:lnTo>
                    <a:lnTo>
                      <a:pt x="242" y="658"/>
                    </a:lnTo>
                    <a:lnTo>
                      <a:pt x="201" y="643"/>
                    </a:lnTo>
                    <a:lnTo>
                      <a:pt x="163" y="625"/>
                    </a:lnTo>
                    <a:lnTo>
                      <a:pt x="128" y="601"/>
                    </a:lnTo>
                    <a:lnTo>
                      <a:pt x="96" y="572"/>
                    </a:lnTo>
                    <a:lnTo>
                      <a:pt x="68" y="539"/>
                    </a:lnTo>
                    <a:lnTo>
                      <a:pt x="44" y="504"/>
                    </a:lnTo>
                    <a:lnTo>
                      <a:pt x="26" y="466"/>
                    </a:lnTo>
                    <a:lnTo>
                      <a:pt x="11" y="424"/>
                    </a:lnTo>
                    <a:lnTo>
                      <a:pt x="2" y="380"/>
                    </a:lnTo>
                    <a:lnTo>
                      <a:pt x="0" y="335"/>
                    </a:lnTo>
                    <a:lnTo>
                      <a:pt x="2" y="289"/>
                    </a:lnTo>
                    <a:lnTo>
                      <a:pt x="11" y="245"/>
                    </a:lnTo>
                    <a:lnTo>
                      <a:pt x="26" y="204"/>
                    </a:lnTo>
                    <a:lnTo>
                      <a:pt x="44" y="165"/>
                    </a:lnTo>
                    <a:lnTo>
                      <a:pt x="68" y="130"/>
                    </a:lnTo>
                    <a:lnTo>
                      <a:pt x="96" y="97"/>
                    </a:lnTo>
                    <a:lnTo>
                      <a:pt x="128" y="69"/>
                    </a:lnTo>
                    <a:lnTo>
                      <a:pt x="163" y="45"/>
                    </a:lnTo>
                    <a:lnTo>
                      <a:pt x="201" y="26"/>
                    </a:lnTo>
                    <a:lnTo>
                      <a:pt x="242" y="12"/>
                    </a:lnTo>
                    <a:lnTo>
                      <a:pt x="286" y="2"/>
                    </a:lnTo>
                    <a:lnTo>
                      <a:pt x="331" y="0"/>
                    </a:lnTo>
                    <a:close/>
                  </a:path>
                </a:pathLst>
              </a:custGeom>
              <a:solidFill>
                <a:schemeClr val="accent6">
                  <a:lumMod val="60000"/>
                  <a:lumOff val="40000"/>
                </a:schemeClr>
              </a:solidFill>
              <a:ln w="0">
                <a:solidFill>
                  <a:schemeClr val="accent6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1" dirty="0"/>
              </a:p>
            </p:txBody>
          </p:sp>
          <p:sp>
            <p:nvSpPr>
              <p:cNvPr id="53" name="Freeform 244">
                <a:extLst>
                  <a:ext uri="{FF2B5EF4-FFF2-40B4-BE49-F238E27FC236}">
                    <a16:creationId xmlns:a16="http://schemas.microsoft.com/office/drawing/2014/main" id="{49B2C0FA-EC24-394F-8D79-0838E444256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88710" y="3817287"/>
                <a:ext cx="266549" cy="311985"/>
              </a:xfrm>
              <a:custGeom>
                <a:avLst/>
                <a:gdLst>
                  <a:gd name="T0" fmla="*/ 447 w 2377"/>
                  <a:gd name="T1" fmla="*/ 6 h 2779"/>
                  <a:gd name="T2" fmla="*/ 538 w 2377"/>
                  <a:gd name="T3" fmla="*/ 36 h 2779"/>
                  <a:gd name="T4" fmla="*/ 617 w 2377"/>
                  <a:gd name="T5" fmla="*/ 91 h 2779"/>
                  <a:gd name="T6" fmla="*/ 677 w 2377"/>
                  <a:gd name="T7" fmla="*/ 168 h 2779"/>
                  <a:gd name="T8" fmla="*/ 746 w 2377"/>
                  <a:gd name="T9" fmla="*/ 281 h 2779"/>
                  <a:gd name="T10" fmla="*/ 916 w 2377"/>
                  <a:gd name="T11" fmla="*/ 529 h 2779"/>
                  <a:gd name="T12" fmla="*/ 1115 w 2377"/>
                  <a:gd name="T13" fmla="*/ 750 h 2779"/>
                  <a:gd name="T14" fmla="*/ 1332 w 2377"/>
                  <a:gd name="T15" fmla="*/ 679 h 2779"/>
                  <a:gd name="T16" fmla="*/ 1521 w 2377"/>
                  <a:gd name="T17" fmla="*/ 449 h 2779"/>
                  <a:gd name="T18" fmla="*/ 1683 w 2377"/>
                  <a:gd name="T19" fmla="*/ 195 h 2779"/>
                  <a:gd name="T20" fmla="*/ 1735 w 2377"/>
                  <a:gd name="T21" fmla="*/ 117 h 2779"/>
                  <a:gd name="T22" fmla="*/ 1808 w 2377"/>
                  <a:gd name="T23" fmla="*/ 53 h 2779"/>
                  <a:gd name="T24" fmla="*/ 1896 w 2377"/>
                  <a:gd name="T25" fmla="*/ 14 h 2779"/>
                  <a:gd name="T26" fmla="*/ 1990 w 2377"/>
                  <a:gd name="T27" fmla="*/ 0 h 2779"/>
                  <a:gd name="T28" fmla="*/ 2080 w 2377"/>
                  <a:gd name="T29" fmla="*/ 16 h 2779"/>
                  <a:gd name="T30" fmla="*/ 2158 w 2377"/>
                  <a:gd name="T31" fmla="*/ 63 h 2779"/>
                  <a:gd name="T32" fmla="*/ 2217 w 2377"/>
                  <a:gd name="T33" fmla="*/ 144 h 2779"/>
                  <a:gd name="T34" fmla="*/ 2275 w 2377"/>
                  <a:gd name="T35" fmla="*/ 408 h 2779"/>
                  <a:gd name="T36" fmla="*/ 2351 w 2377"/>
                  <a:gd name="T37" fmla="*/ 985 h 2779"/>
                  <a:gd name="T38" fmla="*/ 2376 w 2377"/>
                  <a:gd name="T39" fmla="*/ 1413 h 2779"/>
                  <a:gd name="T40" fmla="*/ 2349 w 2377"/>
                  <a:gd name="T41" fmla="*/ 1515 h 2779"/>
                  <a:gd name="T42" fmla="*/ 2337 w 2377"/>
                  <a:gd name="T43" fmla="*/ 1584 h 2779"/>
                  <a:gd name="T44" fmla="*/ 2327 w 2377"/>
                  <a:gd name="T45" fmla="*/ 2669 h 2779"/>
                  <a:gd name="T46" fmla="*/ 2282 w 2377"/>
                  <a:gd name="T47" fmla="*/ 2736 h 2779"/>
                  <a:gd name="T48" fmla="*/ 2213 w 2377"/>
                  <a:gd name="T49" fmla="*/ 2772 h 2779"/>
                  <a:gd name="T50" fmla="*/ 2137 w 2377"/>
                  <a:gd name="T51" fmla="*/ 2776 h 2779"/>
                  <a:gd name="T52" fmla="*/ 2063 w 2377"/>
                  <a:gd name="T53" fmla="*/ 2751 h 2779"/>
                  <a:gd name="T54" fmla="*/ 2009 w 2377"/>
                  <a:gd name="T55" fmla="*/ 2695 h 2779"/>
                  <a:gd name="T56" fmla="*/ 1988 w 2377"/>
                  <a:gd name="T57" fmla="*/ 2608 h 2779"/>
                  <a:gd name="T58" fmla="*/ 1926 w 2377"/>
                  <a:gd name="T59" fmla="*/ 1612 h 2779"/>
                  <a:gd name="T60" fmla="*/ 1850 w 2377"/>
                  <a:gd name="T61" fmla="*/ 1545 h 2779"/>
                  <a:gd name="T62" fmla="*/ 1801 w 2377"/>
                  <a:gd name="T63" fmla="*/ 1449 h 2779"/>
                  <a:gd name="T64" fmla="*/ 1776 w 2377"/>
                  <a:gd name="T65" fmla="*/ 1159 h 2779"/>
                  <a:gd name="T66" fmla="*/ 1663 w 2377"/>
                  <a:gd name="T67" fmla="*/ 829 h 2779"/>
                  <a:gd name="T68" fmla="*/ 1436 w 2377"/>
                  <a:gd name="T69" fmla="*/ 1063 h 2779"/>
                  <a:gd name="T70" fmla="*/ 1325 w 2377"/>
                  <a:gd name="T71" fmla="*/ 1185 h 2779"/>
                  <a:gd name="T72" fmla="*/ 1265 w 2377"/>
                  <a:gd name="T73" fmla="*/ 1235 h 2779"/>
                  <a:gd name="T74" fmla="*/ 1189 w 2377"/>
                  <a:gd name="T75" fmla="*/ 1245 h 2779"/>
                  <a:gd name="T76" fmla="*/ 1112 w 2377"/>
                  <a:gd name="T77" fmla="*/ 1235 h 2779"/>
                  <a:gd name="T78" fmla="*/ 1051 w 2377"/>
                  <a:gd name="T79" fmla="*/ 1185 h 2779"/>
                  <a:gd name="T80" fmla="*/ 942 w 2377"/>
                  <a:gd name="T81" fmla="*/ 1063 h 2779"/>
                  <a:gd name="T82" fmla="*/ 714 w 2377"/>
                  <a:gd name="T83" fmla="*/ 829 h 2779"/>
                  <a:gd name="T84" fmla="*/ 601 w 2377"/>
                  <a:gd name="T85" fmla="*/ 1163 h 2779"/>
                  <a:gd name="T86" fmla="*/ 577 w 2377"/>
                  <a:gd name="T87" fmla="*/ 1452 h 2779"/>
                  <a:gd name="T88" fmla="*/ 527 w 2377"/>
                  <a:gd name="T89" fmla="*/ 1549 h 2779"/>
                  <a:gd name="T90" fmla="*/ 450 w 2377"/>
                  <a:gd name="T91" fmla="*/ 1614 h 2779"/>
                  <a:gd name="T92" fmla="*/ 390 w 2377"/>
                  <a:gd name="T93" fmla="*/ 2608 h 2779"/>
                  <a:gd name="T94" fmla="*/ 368 w 2377"/>
                  <a:gd name="T95" fmla="*/ 2695 h 2779"/>
                  <a:gd name="T96" fmla="*/ 314 w 2377"/>
                  <a:gd name="T97" fmla="*/ 2751 h 2779"/>
                  <a:gd name="T98" fmla="*/ 241 w 2377"/>
                  <a:gd name="T99" fmla="*/ 2776 h 2779"/>
                  <a:gd name="T100" fmla="*/ 164 w 2377"/>
                  <a:gd name="T101" fmla="*/ 2772 h 2779"/>
                  <a:gd name="T102" fmla="*/ 95 w 2377"/>
                  <a:gd name="T103" fmla="*/ 2736 h 2779"/>
                  <a:gd name="T104" fmla="*/ 51 w 2377"/>
                  <a:gd name="T105" fmla="*/ 2669 h 2779"/>
                  <a:gd name="T106" fmla="*/ 41 w 2377"/>
                  <a:gd name="T107" fmla="*/ 1584 h 2779"/>
                  <a:gd name="T108" fmla="*/ 29 w 2377"/>
                  <a:gd name="T109" fmla="*/ 1512 h 2779"/>
                  <a:gd name="T110" fmla="*/ 1 w 2377"/>
                  <a:gd name="T111" fmla="*/ 1408 h 2779"/>
                  <a:gd name="T112" fmla="*/ 26 w 2377"/>
                  <a:gd name="T113" fmla="*/ 982 h 2779"/>
                  <a:gd name="T114" fmla="*/ 103 w 2377"/>
                  <a:gd name="T115" fmla="*/ 406 h 2779"/>
                  <a:gd name="T116" fmla="*/ 160 w 2377"/>
                  <a:gd name="T117" fmla="*/ 143 h 2779"/>
                  <a:gd name="T118" fmla="*/ 218 w 2377"/>
                  <a:gd name="T119" fmla="*/ 63 h 2779"/>
                  <a:gd name="T120" fmla="*/ 296 w 2377"/>
                  <a:gd name="T121" fmla="*/ 16 h 2779"/>
                  <a:gd name="T122" fmla="*/ 386 w 2377"/>
                  <a:gd name="T123" fmla="*/ 0 h 27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2377" h="2779">
                    <a:moveTo>
                      <a:pt x="386" y="0"/>
                    </a:moveTo>
                    <a:lnTo>
                      <a:pt x="417" y="2"/>
                    </a:lnTo>
                    <a:lnTo>
                      <a:pt x="447" y="6"/>
                    </a:lnTo>
                    <a:lnTo>
                      <a:pt x="479" y="13"/>
                    </a:lnTo>
                    <a:lnTo>
                      <a:pt x="509" y="22"/>
                    </a:lnTo>
                    <a:lnTo>
                      <a:pt x="538" y="36"/>
                    </a:lnTo>
                    <a:lnTo>
                      <a:pt x="566" y="52"/>
                    </a:lnTo>
                    <a:lnTo>
                      <a:pt x="592" y="70"/>
                    </a:lnTo>
                    <a:lnTo>
                      <a:pt x="617" y="91"/>
                    </a:lnTo>
                    <a:lnTo>
                      <a:pt x="640" y="114"/>
                    </a:lnTo>
                    <a:lnTo>
                      <a:pt x="659" y="140"/>
                    </a:lnTo>
                    <a:lnTo>
                      <a:pt x="677" y="168"/>
                    </a:lnTo>
                    <a:lnTo>
                      <a:pt x="687" y="180"/>
                    </a:lnTo>
                    <a:lnTo>
                      <a:pt x="694" y="195"/>
                    </a:lnTo>
                    <a:lnTo>
                      <a:pt x="746" y="281"/>
                    </a:lnTo>
                    <a:lnTo>
                      <a:pt x="799" y="367"/>
                    </a:lnTo>
                    <a:lnTo>
                      <a:pt x="857" y="449"/>
                    </a:lnTo>
                    <a:lnTo>
                      <a:pt x="916" y="529"/>
                    </a:lnTo>
                    <a:lnTo>
                      <a:pt x="979" y="606"/>
                    </a:lnTo>
                    <a:lnTo>
                      <a:pt x="1046" y="679"/>
                    </a:lnTo>
                    <a:lnTo>
                      <a:pt x="1115" y="750"/>
                    </a:lnTo>
                    <a:lnTo>
                      <a:pt x="1189" y="818"/>
                    </a:lnTo>
                    <a:lnTo>
                      <a:pt x="1262" y="750"/>
                    </a:lnTo>
                    <a:lnTo>
                      <a:pt x="1332" y="679"/>
                    </a:lnTo>
                    <a:lnTo>
                      <a:pt x="1398" y="606"/>
                    </a:lnTo>
                    <a:lnTo>
                      <a:pt x="1461" y="529"/>
                    </a:lnTo>
                    <a:lnTo>
                      <a:pt x="1521" y="449"/>
                    </a:lnTo>
                    <a:lnTo>
                      <a:pt x="1578" y="367"/>
                    </a:lnTo>
                    <a:lnTo>
                      <a:pt x="1632" y="281"/>
                    </a:lnTo>
                    <a:lnTo>
                      <a:pt x="1683" y="195"/>
                    </a:lnTo>
                    <a:lnTo>
                      <a:pt x="1698" y="170"/>
                    </a:lnTo>
                    <a:lnTo>
                      <a:pt x="1715" y="143"/>
                    </a:lnTo>
                    <a:lnTo>
                      <a:pt x="1735" y="117"/>
                    </a:lnTo>
                    <a:lnTo>
                      <a:pt x="1758" y="93"/>
                    </a:lnTo>
                    <a:lnTo>
                      <a:pt x="1782" y="72"/>
                    </a:lnTo>
                    <a:lnTo>
                      <a:pt x="1808" y="53"/>
                    </a:lnTo>
                    <a:lnTo>
                      <a:pt x="1837" y="37"/>
                    </a:lnTo>
                    <a:lnTo>
                      <a:pt x="1866" y="23"/>
                    </a:lnTo>
                    <a:lnTo>
                      <a:pt x="1896" y="14"/>
                    </a:lnTo>
                    <a:lnTo>
                      <a:pt x="1928" y="6"/>
                    </a:lnTo>
                    <a:lnTo>
                      <a:pt x="1959" y="2"/>
                    </a:lnTo>
                    <a:lnTo>
                      <a:pt x="1990" y="0"/>
                    </a:lnTo>
                    <a:lnTo>
                      <a:pt x="2021" y="3"/>
                    </a:lnTo>
                    <a:lnTo>
                      <a:pt x="2051" y="7"/>
                    </a:lnTo>
                    <a:lnTo>
                      <a:pt x="2080" y="16"/>
                    </a:lnTo>
                    <a:lnTo>
                      <a:pt x="2108" y="28"/>
                    </a:lnTo>
                    <a:lnTo>
                      <a:pt x="2134" y="44"/>
                    </a:lnTo>
                    <a:lnTo>
                      <a:pt x="2158" y="63"/>
                    </a:lnTo>
                    <a:lnTo>
                      <a:pt x="2181" y="86"/>
                    </a:lnTo>
                    <a:lnTo>
                      <a:pt x="2200" y="113"/>
                    </a:lnTo>
                    <a:lnTo>
                      <a:pt x="2217" y="144"/>
                    </a:lnTo>
                    <a:lnTo>
                      <a:pt x="2230" y="178"/>
                    </a:lnTo>
                    <a:lnTo>
                      <a:pt x="2239" y="218"/>
                    </a:lnTo>
                    <a:lnTo>
                      <a:pt x="2275" y="408"/>
                    </a:lnTo>
                    <a:lnTo>
                      <a:pt x="2305" y="600"/>
                    </a:lnTo>
                    <a:lnTo>
                      <a:pt x="2330" y="792"/>
                    </a:lnTo>
                    <a:lnTo>
                      <a:pt x="2351" y="985"/>
                    </a:lnTo>
                    <a:lnTo>
                      <a:pt x="2367" y="1178"/>
                    </a:lnTo>
                    <a:lnTo>
                      <a:pt x="2377" y="1372"/>
                    </a:lnTo>
                    <a:lnTo>
                      <a:pt x="2376" y="1413"/>
                    </a:lnTo>
                    <a:lnTo>
                      <a:pt x="2372" y="1450"/>
                    </a:lnTo>
                    <a:lnTo>
                      <a:pt x="2362" y="1484"/>
                    </a:lnTo>
                    <a:lnTo>
                      <a:pt x="2349" y="1515"/>
                    </a:lnTo>
                    <a:lnTo>
                      <a:pt x="2333" y="1543"/>
                    </a:lnTo>
                    <a:lnTo>
                      <a:pt x="2336" y="1563"/>
                    </a:lnTo>
                    <a:lnTo>
                      <a:pt x="2337" y="1584"/>
                    </a:lnTo>
                    <a:lnTo>
                      <a:pt x="2337" y="2608"/>
                    </a:lnTo>
                    <a:lnTo>
                      <a:pt x="2334" y="2640"/>
                    </a:lnTo>
                    <a:lnTo>
                      <a:pt x="2327" y="2669"/>
                    </a:lnTo>
                    <a:lnTo>
                      <a:pt x="2315" y="2695"/>
                    </a:lnTo>
                    <a:lnTo>
                      <a:pt x="2300" y="2717"/>
                    </a:lnTo>
                    <a:lnTo>
                      <a:pt x="2282" y="2736"/>
                    </a:lnTo>
                    <a:lnTo>
                      <a:pt x="2261" y="2751"/>
                    </a:lnTo>
                    <a:lnTo>
                      <a:pt x="2238" y="2763"/>
                    </a:lnTo>
                    <a:lnTo>
                      <a:pt x="2213" y="2772"/>
                    </a:lnTo>
                    <a:lnTo>
                      <a:pt x="2189" y="2776"/>
                    </a:lnTo>
                    <a:lnTo>
                      <a:pt x="2163" y="2779"/>
                    </a:lnTo>
                    <a:lnTo>
                      <a:pt x="2137" y="2776"/>
                    </a:lnTo>
                    <a:lnTo>
                      <a:pt x="2111" y="2772"/>
                    </a:lnTo>
                    <a:lnTo>
                      <a:pt x="2086" y="2763"/>
                    </a:lnTo>
                    <a:lnTo>
                      <a:pt x="2063" y="2751"/>
                    </a:lnTo>
                    <a:lnTo>
                      <a:pt x="2042" y="2736"/>
                    </a:lnTo>
                    <a:lnTo>
                      <a:pt x="2024" y="2717"/>
                    </a:lnTo>
                    <a:lnTo>
                      <a:pt x="2009" y="2695"/>
                    </a:lnTo>
                    <a:lnTo>
                      <a:pt x="1998" y="2669"/>
                    </a:lnTo>
                    <a:lnTo>
                      <a:pt x="1990" y="2640"/>
                    </a:lnTo>
                    <a:lnTo>
                      <a:pt x="1988" y="2608"/>
                    </a:lnTo>
                    <a:lnTo>
                      <a:pt x="1988" y="1641"/>
                    </a:lnTo>
                    <a:lnTo>
                      <a:pt x="1957" y="1627"/>
                    </a:lnTo>
                    <a:lnTo>
                      <a:pt x="1926" y="1612"/>
                    </a:lnTo>
                    <a:lnTo>
                      <a:pt x="1898" y="1592"/>
                    </a:lnTo>
                    <a:lnTo>
                      <a:pt x="1873" y="1570"/>
                    </a:lnTo>
                    <a:lnTo>
                      <a:pt x="1850" y="1545"/>
                    </a:lnTo>
                    <a:lnTo>
                      <a:pt x="1830" y="1516"/>
                    </a:lnTo>
                    <a:lnTo>
                      <a:pt x="1814" y="1484"/>
                    </a:lnTo>
                    <a:lnTo>
                      <a:pt x="1801" y="1449"/>
                    </a:lnTo>
                    <a:lnTo>
                      <a:pt x="1792" y="1410"/>
                    </a:lnTo>
                    <a:lnTo>
                      <a:pt x="1788" y="1368"/>
                    </a:lnTo>
                    <a:lnTo>
                      <a:pt x="1776" y="1159"/>
                    </a:lnTo>
                    <a:lnTo>
                      <a:pt x="1758" y="952"/>
                    </a:lnTo>
                    <a:lnTo>
                      <a:pt x="1733" y="746"/>
                    </a:lnTo>
                    <a:lnTo>
                      <a:pt x="1663" y="829"/>
                    </a:lnTo>
                    <a:lnTo>
                      <a:pt x="1591" y="910"/>
                    </a:lnTo>
                    <a:lnTo>
                      <a:pt x="1515" y="988"/>
                    </a:lnTo>
                    <a:lnTo>
                      <a:pt x="1436" y="1063"/>
                    </a:lnTo>
                    <a:lnTo>
                      <a:pt x="1353" y="1136"/>
                    </a:lnTo>
                    <a:lnTo>
                      <a:pt x="1341" y="1162"/>
                    </a:lnTo>
                    <a:lnTo>
                      <a:pt x="1325" y="1185"/>
                    </a:lnTo>
                    <a:lnTo>
                      <a:pt x="1308" y="1205"/>
                    </a:lnTo>
                    <a:lnTo>
                      <a:pt x="1288" y="1222"/>
                    </a:lnTo>
                    <a:lnTo>
                      <a:pt x="1265" y="1235"/>
                    </a:lnTo>
                    <a:lnTo>
                      <a:pt x="1241" y="1244"/>
                    </a:lnTo>
                    <a:lnTo>
                      <a:pt x="1215" y="1247"/>
                    </a:lnTo>
                    <a:lnTo>
                      <a:pt x="1189" y="1245"/>
                    </a:lnTo>
                    <a:lnTo>
                      <a:pt x="1162" y="1247"/>
                    </a:lnTo>
                    <a:lnTo>
                      <a:pt x="1136" y="1244"/>
                    </a:lnTo>
                    <a:lnTo>
                      <a:pt x="1112" y="1235"/>
                    </a:lnTo>
                    <a:lnTo>
                      <a:pt x="1089" y="1222"/>
                    </a:lnTo>
                    <a:lnTo>
                      <a:pt x="1070" y="1205"/>
                    </a:lnTo>
                    <a:lnTo>
                      <a:pt x="1051" y="1185"/>
                    </a:lnTo>
                    <a:lnTo>
                      <a:pt x="1036" y="1162"/>
                    </a:lnTo>
                    <a:lnTo>
                      <a:pt x="1024" y="1136"/>
                    </a:lnTo>
                    <a:lnTo>
                      <a:pt x="942" y="1063"/>
                    </a:lnTo>
                    <a:lnTo>
                      <a:pt x="862" y="988"/>
                    </a:lnTo>
                    <a:lnTo>
                      <a:pt x="786" y="910"/>
                    </a:lnTo>
                    <a:lnTo>
                      <a:pt x="714" y="829"/>
                    </a:lnTo>
                    <a:lnTo>
                      <a:pt x="644" y="746"/>
                    </a:lnTo>
                    <a:lnTo>
                      <a:pt x="619" y="953"/>
                    </a:lnTo>
                    <a:lnTo>
                      <a:pt x="601" y="1163"/>
                    </a:lnTo>
                    <a:lnTo>
                      <a:pt x="589" y="1372"/>
                    </a:lnTo>
                    <a:lnTo>
                      <a:pt x="586" y="1414"/>
                    </a:lnTo>
                    <a:lnTo>
                      <a:pt x="577" y="1452"/>
                    </a:lnTo>
                    <a:lnTo>
                      <a:pt x="564" y="1488"/>
                    </a:lnTo>
                    <a:lnTo>
                      <a:pt x="547" y="1520"/>
                    </a:lnTo>
                    <a:lnTo>
                      <a:pt x="527" y="1549"/>
                    </a:lnTo>
                    <a:lnTo>
                      <a:pt x="505" y="1574"/>
                    </a:lnTo>
                    <a:lnTo>
                      <a:pt x="479" y="1596"/>
                    </a:lnTo>
                    <a:lnTo>
                      <a:pt x="450" y="1614"/>
                    </a:lnTo>
                    <a:lnTo>
                      <a:pt x="421" y="1630"/>
                    </a:lnTo>
                    <a:lnTo>
                      <a:pt x="390" y="1642"/>
                    </a:lnTo>
                    <a:lnTo>
                      <a:pt x="390" y="2608"/>
                    </a:lnTo>
                    <a:lnTo>
                      <a:pt x="387" y="2640"/>
                    </a:lnTo>
                    <a:lnTo>
                      <a:pt x="380" y="2669"/>
                    </a:lnTo>
                    <a:lnTo>
                      <a:pt x="368" y="2695"/>
                    </a:lnTo>
                    <a:lnTo>
                      <a:pt x="353" y="2717"/>
                    </a:lnTo>
                    <a:lnTo>
                      <a:pt x="335" y="2736"/>
                    </a:lnTo>
                    <a:lnTo>
                      <a:pt x="314" y="2751"/>
                    </a:lnTo>
                    <a:lnTo>
                      <a:pt x="291" y="2763"/>
                    </a:lnTo>
                    <a:lnTo>
                      <a:pt x="266" y="2772"/>
                    </a:lnTo>
                    <a:lnTo>
                      <a:pt x="241" y="2776"/>
                    </a:lnTo>
                    <a:lnTo>
                      <a:pt x="215" y="2779"/>
                    </a:lnTo>
                    <a:lnTo>
                      <a:pt x="190" y="2776"/>
                    </a:lnTo>
                    <a:lnTo>
                      <a:pt x="164" y="2772"/>
                    </a:lnTo>
                    <a:lnTo>
                      <a:pt x="139" y="2763"/>
                    </a:lnTo>
                    <a:lnTo>
                      <a:pt x="116" y="2751"/>
                    </a:lnTo>
                    <a:lnTo>
                      <a:pt x="95" y="2736"/>
                    </a:lnTo>
                    <a:lnTo>
                      <a:pt x="77" y="2717"/>
                    </a:lnTo>
                    <a:lnTo>
                      <a:pt x="62" y="2695"/>
                    </a:lnTo>
                    <a:lnTo>
                      <a:pt x="51" y="2669"/>
                    </a:lnTo>
                    <a:lnTo>
                      <a:pt x="43" y="2640"/>
                    </a:lnTo>
                    <a:lnTo>
                      <a:pt x="41" y="2608"/>
                    </a:lnTo>
                    <a:lnTo>
                      <a:pt x="41" y="1584"/>
                    </a:lnTo>
                    <a:lnTo>
                      <a:pt x="42" y="1562"/>
                    </a:lnTo>
                    <a:lnTo>
                      <a:pt x="45" y="1541"/>
                    </a:lnTo>
                    <a:lnTo>
                      <a:pt x="29" y="1512"/>
                    </a:lnTo>
                    <a:lnTo>
                      <a:pt x="16" y="1481"/>
                    </a:lnTo>
                    <a:lnTo>
                      <a:pt x="6" y="1447"/>
                    </a:lnTo>
                    <a:lnTo>
                      <a:pt x="1" y="1408"/>
                    </a:lnTo>
                    <a:lnTo>
                      <a:pt x="0" y="1368"/>
                    </a:lnTo>
                    <a:lnTo>
                      <a:pt x="11" y="1175"/>
                    </a:lnTo>
                    <a:lnTo>
                      <a:pt x="26" y="982"/>
                    </a:lnTo>
                    <a:lnTo>
                      <a:pt x="47" y="789"/>
                    </a:lnTo>
                    <a:lnTo>
                      <a:pt x="73" y="597"/>
                    </a:lnTo>
                    <a:lnTo>
                      <a:pt x="103" y="406"/>
                    </a:lnTo>
                    <a:lnTo>
                      <a:pt x="138" y="215"/>
                    </a:lnTo>
                    <a:lnTo>
                      <a:pt x="147" y="177"/>
                    </a:lnTo>
                    <a:lnTo>
                      <a:pt x="160" y="143"/>
                    </a:lnTo>
                    <a:lnTo>
                      <a:pt x="177" y="112"/>
                    </a:lnTo>
                    <a:lnTo>
                      <a:pt x="196" y="85"/>
                    </a:lnTo>
                    <a:lnTo>
                      <a:pt x="218" y="63"/>
                    </a:lnTo>
                    <a:lnTo>
                      <a:pt x="243" y="43"/>
                    </a:lnTo>
                    <a:lnTo>
                      <a:pt x="269" y="28"/>
                    </a:lnTo>
                    <a:lnTo>
                      <a:pt x="296" y="16"/>
                    </a:lnTo>
                    <a:lnTo>
                      <a:pt x="325" y="7"/>
                    </a:lnTo>
                    <a:lnTo>
                      <a:pt x="355" y="2"/>
                    </a:lnTo>
                    <a:lnTo>
                      <a:pt x="386" y="0"/>
                    </a:lnTo>
                    <a:close/>
                  </a:path>
                </a:pathLst>
              </a:custGeom>
              <a:solidFill>
                <a:schemeClr val="accent6">
                  <a:lumMod val="60000"/>
                  <a:lumOff val="40000"/>
                </a:schemeClr>
              </a:solidFill>
              <a:ln w="0">
                <a:solidFill>
                  <a:schemeClr val="accent6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1" dirty="0"/>
              </a:p>
            </p:txBody>
          </p:sp>
          <p:sp>
            <p:nvSpPr>
              <p:cNvPr id="54" name="Freeform 245">
                <a:extLst>
                  <a:ext uri="{FF2B5EF4-FFF2-40B4-BE49-F238E27FC236}">
                    <a16:creationId xmlns:a16="http://schemas.microsoft.com/office/drawing/2014/main" id="{82863599-4901-DE42-817A-2AB05EEEAEE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58332" y="3738534"/>
                <a:ext cx="73705" cy="75724"/>
              </a:xfrm>
              <a:custGeom>
                <a:avLst/>
                <a:gdLst>
                  <a:gd name="T0" fmla="*/ 332 w 663"/>
                  <a:gd name="T1" fmla="*/ 0 h 670"/>
                  <a:gd name="T2" fmla="*/ 377 w 663"/>
                  <a:gd name="T3" fmla="*/ 2 h 670"/>
                  <a:gd name="T4" fmla="*/ 420 w 663"/>
                  <a:gd name="T5" fmla="*/ 12 h 670"/>
                  <a:gd name="T6" fmla="*/ 461 w 663"/>
                  <a:gd name="T7" fmla="*/ 26 h 670"/>
                  <a:gd name="T8" fmla="*/ 499 w 663"/>
                  <a:gd name="T9" fmla="*/ 45 h 670"/>
                  <a:gd name="T10" fmla="*/ 534 w 663"/>
                  <a:gd name="T11" fmla="*/ 69 h 670"/>
                  <a:gd name="T12" fmla="*/ 566 w 663"/>
                  <a:gd name="T13" fmla="*/ 97 h 670"/>
                  <a:gd name="T14" fmla="*/ 594 w 663"/>
                  <a:gd name="T15" fmla="*/ 130 h 670"/>
                  <a:gd name="T16" fmla="*/ 618 w 663"/>
                  <a:gd name="T17" fmla="*/ 165 h 670"/>
                  <a:gd name="T18" fmla="*/ 637 w 663"/>
                  <a:gd name="T19" fmla="*/ 204 h 670"/>
                  <a:gd name="T20" fmla="*/ 651 w 663"/>
                  <a:gd name="T21" fmla="*/ 245 h 670"/>
                  <a:gd name="T22" fmla="*/ 660 w 663"/>
                  <a:gd name="T23" fmla="*/ 289 h 670"/>
                  <a:gd name="T24" fmla="*/ 663 w 663"/>
                  <a:gd name="T25" fmla="*/ 335 h 670"/>
                  <a:gd name="T26" fmla="*/ 660 w 663"/>
                  <a:gd name="T27" fmla="*/ 380 h 670"/>
                  <a:gd name="T28" fmla="*/ 651 w 663"/>
                  <a:gd name="T29" fmla="*/ 424 h 670"/>
                  <a:gd name="T30" fmla="*/ 637 w 663"/>
                  <a:gd name="T31" fmla="*/ 466 h 670"/>
                  <a:gd name="T32" fmla="*/ 618 w 663"/>
                  <a:gd name="T33" fmla="*/ 504 h 670"/>
                  <a:gd name="T34" fmla="*/ 594 w 663"/>
                  <a:gd name="T35" fmla="*/ 539 h 670"/>
                  <a:gd name="T36" fmla="*/ 566 w 663"/>
                  <a:gd name="T37" fmla="*/ 572 h 670"/>
                  <a:gd name="T38" fmla="*/ 534 w 663"/>
                  <a:gd name="T39" fmla="*/ 601 h 670"/>
                  <a:gd name="T40" fmla="*/ 499 w 663"/>
                  <a:gd name="T41" fmla="*/ 625 h 670"/>
                  <a:gd name="T42" fmla="*/ 461 w 663"/>
                  <a:gd name="T43" fmla="*/ 643 h 670"/>
                  <a:gd name="T44" fmla="*/ 420 w 663"/>
                  <a:gd name="T45" fmla="*/ 658 h 670"/>
                  <a:gd name="T46" fmla="*/ 377 w 663"/>
                  <a:gd name="T47" fmla="*/ 667 h 670"/>
                  <a:gd name="T48" fmla="*/ 332 w 663"/>
                  <a:gd name="T49" fmla="*/ 670 h 670"/>
                  <a:gd name="T50" fmla="*/ 286 w 663"/>
                  <a:gd name="T51" fmla="*/ 667 h 670"/>
                  <a:gd name="T52" fmla="*/ 244 w 663"/>
                  <a:gd name="T53" fmla="*/ 658 h 670"/>
                  <a:gd name="T54" fmla="*/ 203 w 663"/>
                  <a:gd name="T55" fmla="*/ 643 h 670"/>
                  <a:gd name="T56" fmla="*/ 165 w 663"/>
                  <a:gd name="T57" fmla="*/ 625 h 670"/>
                  <a:gd name="T58" fmla="*/ 129 w 663"/>
                  <a:gd name="T59" fmla="*/ 601 h 670"/>
                  <a:gd name="T60" fmla="*/ 98 w 663"/>
                  <a:gd name="T61" fmla="*/ 572 h 670"/>
                  <a:gd name="T62" fmla="*/ 70 w 663"/>
                  <a:gd name="T63" fmla="*/ 539 h 670"/>
                  <a:gd name="T64" fmla="*/ 46 w 663"/>
                  <a:gd name="T65" fmla="*/ 504 h 670"/>
                  <a:gd name="T66" fmla="*/ 26 w 663"/>
                  <a:gd name="T67" fmla="*/ 466 h 670"/>
                  <a:gd name="T68" fmla="*/ 12 w 663"/>
                  <a:gd name="T69" fmla="*/ 424 h 670"/>
                  <a:gd name="T70" fmla="*/ 4 w 663"/>
                  <a:gd name="T71" fmla="*/ 380 h 670"/>
                  <a:gd name="T72" fmla="*/ 0 w 663"/>
                  <a:gd name="T73" fmla="*/ 335 h 670"/>
                  <a:gd name="T74" fmla="*/ 4 w 663"/>
                  <a:gd name="T75" fmla="*/ 289 h 670"/>
                  <a:gd name="T76" fmla="*/ 12 w 663"/>
                  <a:gd name="T77" fmla="*/ 245 h 670"/>
                  <a:gd name="T78" fmla="*/ 26 w 663"/>
                  <a:gd name="T79" fmla="*/ 204 h 670"/>
                  <a:gd name="T80" fmla="*/ 46 w 663"/>
                  <a:gd name="T81" fmla="*/ 165 h 670"/>
                  <a:gd name="T82" fmla="*/ 70 w 663"/>
                  <a:gd name="T83" fmla="*/ 130 h 670"/>
                  <a:gd name="T84" fmla="*/ 98 w 663"/>
                  <a:gd name="T85" fmla="*/ 97 h 670"/>
                  <a:gd name="T86" fmla="*/ 129 w 663"/>
                  <a:gd name="T87" fmla="*/ 69 h 670"/>
                  <a:gd name="T88" fmla="*/ 165 w 663"/>
                  <a:gd name="T89" fmla="*/ 45 h 670"/>
                  <a:gd name="T90" fmla="*/ 203 w 663"/>
                  <a:gd name="T91" fmla="*/ 26 h 670"/>
                  <a:gd name="T92" fmla="*/ 244 w 663"/>
                  <a:gd name="T93" fmla="*/ 12 h 670"/>
                  <a:gd name="T94" fmla="*/ 286 w 663"/>
                  <a:gd name="T95" fmla="*/ 2 h 670"/>
                  <a:gd name="T96" fmla="*/ 332 w 663"/>
                  <a:gd name="T97" fmla="*/ 0 h 6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663" h="670">
                    <a:moveTo>
                      <a:pt x="332" y="0"/>
                    </a:moveTo>
                    <a:lnTo>
                      <a:pt x="377" y="2"/>
                    </a:lnTo>
                    <a:lnTo>
                      <a:pt x="420" y="12"/>
                    </a:lnTo>
                    <a:lnTo>
                      <a:pt x="461" y="26"/>
                    </a:lnTo>
                    <a:lnTo>
                      <a:pt x="499" y="45"/>
                    </a:lnTo>
                    <a:lnTo>
                      <a:pt x="534" y="69"/>
                    </a:lnTo>
                    <a:lnTo>
                      <a:pt x="566" y="97"/>
                    </a:lnTo>
                    <a:lnTo>
                      <a:pt x="594" y="130"/>
                    </a:lnTo>
                    <a:lnTo>
                      <a:pt x="618" y="165"/>
                    </a:lnTo>
                    <a:lnTo>
                      <a:pt x="637" y="204"/>
                    </a:lnTo>
                    <a:lnTo>
                      <a:pt x="651" y="245"/>
                    </a:lnTo>
                    <a:lnTo>
                      <a:pt x="660" y="289"/>
                    </a:lnTo>
                    <a:lnTo>
                      <a:pt x="663" y="335"/>
                    </a:lnTo>
                    <a:lnTo>
                      <a:pt x="660" y="380"/>
                    </a:lnTo>
                    <a:lnTo>
                      <a:pt x="651" y="424"/>
                    </a:lnTo>
                    <a:lnTo>
                      <a:pt x="637" y="466"/>
                    </a:lnTo>
                    <a:lnTo>
                      <a:pt x="618" y="504"/>
                    </a:lnTo>
                    <a:lnTo>
                      <a:pt x="594" y="539"/>
                    </a:lnTo>
                    <a:lnTo>
                      <a:pt x="566" y="572"/>
                    </a:lnTo>
                    <a:lnTo>
                      <a:pt x="534" y="601"/>
                    </a:lnTo>
                    <a:lnTo>
                      <a:pt x="499" y="625"/>
                    </a:lnTo>
                    <a:lnTo>
                      <a:pt x="461" y="643"/>
                    </a:lnTo>
                    <a:lnTo>
                      <a:pt x="420" y="658"/>
                    </a:lnTo>
                    <a:lnTo>
                      <a:pt x="377" y="667"/>
                    </a:lnTo>
                    <a:lnTo>
                      <a:pt x="332" y="670"/>
                    </a:lnTo>
                    <a:lnTo>
                      <a:pt x="286" y="667"/>
                    </a:lnTo>
                    <a:lnTo>
                      <a:pt x="244" y="658"/>
                    </a:lnTo>
                    <a:lnTo>
                      <a:pt x="203" y="643"/>
                    </a:lnTo>
                    <a:lnTo>
                      <a:pt x="165" y="625"/>
                    </a:lnTo>
                    <a:lnTo>
                      <a:pt x="129" y="601"/>
                    </a:lnTo>
                    <a:lnTo>
                      <a:pt x="98" y="572"/>
                    </a:lnTo>
                    <a:lnTo>
                      <a:pt x="70" y="539"/>
                    </a:lnTo>
                    <a:lnTo>
                      <a:pt x="46" y="504"/>
                    </a:lnTo>
                    <a:lnTo>
                      <a:pt x="26" y="466"/>
                    </a:lnTo>
                    <a:lnTo>
                      <a:pt x="12" y="424"/>
                    </a:lnTo>
                    <a:lnTo>
                      <a:pt x="4" y="380"/>
                    </a:lnTo>
                    <a:lnTo>
                      <a:pt x="0" y="335"/>
                    </a:lnTo>
                    <a:lnTo>
                      <a:pt x="4" y="289"/>
                    </a:lnTo>
                    <a:lnTo>
                      <a:pt x="12" y="245"/>
                    </a:lnTo>
                    <a:lnTo>
                      <a:pt x="26" y="204"/>
                    </a:lnTo>
                    <a:lnTo>
                      <a:pt x="46" y="165"/>
                    </a:lnTo>
                    <a:lnTo>
                      <a:pt x="70" y="130"/>
                    </a:lnTo>
                    <a:lnTo>
                      <a:pt x="98" y="97"/>
                    </a:lnTo>
                    <a:lnTo>
                      <a:pt x="129" y="69"/>
                    </a:lnTo>
                    <a:lnTo>
                      <a:pt x="165" y="45"/>
                    </a:lnTo>
                    <a:lnTo>
                      <a:pt x="203" y="26"/>
                    </a:lnTo>
                    <a:lnTo>
                      <a:pt x="244" y="12"/>
                    </a:lnTo>
                    <a:lnTo>
                      <a:pt x="286" y="2"/>
                    </a:lnTo>
                    <a:lnTo>
                      <a:pt x="332" y="0"/>
                    </a:lnTo>
                    <a:close/>
                  </a:path>
                </a:pathLst>
              </a:custGeom>
              <a:solidFill>
                <a:schemeClr val="accent6">
                  <a:lumMod val="60000"/>
                  <a:lumOff val="40000"/>
                </a:schemeClr>
              </a:solidFill>
              <a:ln w="0">
                <a:solidFill>
                  <a:schemeClr val="accent6">
                    <a:lumMod val="60000"/>
                    <a:lumOff val="40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1" dirty="0"/>
              </a:p>
            </p:txBody>
          </p:sp>
        </p:grpSp>
      </p:grpSp>
      <p:grpSp>
        <p:nvGrpSpPr>
          <p:cNvPr id="55" name="Group 91">
            <a:extLst>
              <a:ext uri="{FF2B5EF4-FFF2-40B4-BE49-F238E27FC236}">
                <a16:creationId xmlns:a16="http://schemas.microsoft.com/office/drawing/2014/main" id="{D1884C26-11C1-3E47-A733-93D243DC6DC8}"/>
              </a:ext>
            </a:extLst>
          </p:cNvPr>
          <p:cNvGrpSpPr/>
          <p:nvPr/>
        </p:nvGrpSpPr>
        <p:grpSpPr>
          <a:xfrm>
            <a:off x="587500" y="2830179"/>
            <a:ext cx="944563" cy="942975"/>
            <a:chOff x="1970088" y="4926013"/>
            <a:chExt cx="944563" cy="942975"/>
          </a:xfrm>
        </p:grpSpPr>
        <p:sp>
          <p:nvSpPr>
            <p:cNvPr id="56" name="Oval 40">
              <a:extLst>
                <a:ext uri="{FF2B5EF4-FFF2-40B4-BE49-F238E27FC236}">
                  <a16:creationId xmlns:a16="http://schemas.microsoft.com/office/drawing/2014/main" id="{5B6CDFC2-010B-DC42-8B38-E64EA52DB47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70088" y="4926013"/>
              <a:ext cx="944563" cy="942975"/>
            </a:xfrm>
            <a:prstGeom prst="ellipse">
              <a:avLst/>
            </a:prstGeom>
            <a:solidFill>
              <a:srgbClr val="FFFFFF"/>
            </a:solidFill>
            <a:ln w="50800" cap="flat">
              <a:solidFill>
                <a:srgbClr val="1D967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1"/>
            </a:p>
          </p:txBody>
        </p:sp>
        <p:grpSp>
          <p:nvGrpSpPr>
            <p:cNvPr id="57" name="Group 45">
              <a:extLst>
                <a:ext uri="{FF2B5EF4-FFF2-40B4-BE49-F238E27FC236}">
                  <a16:creationId xmlns:a16="http://schemas.microsoft.com/office/drawing/2014/main" id="{E4E9DFB4-3B3D-3E4E-A724-4D2ED8CE2911}"/>
                </a:ext>
              </a:extLst>
            </p:cNvPr>
            <p:cNvGrpSpPr/>
            <p:nvPr/>
          </p:nvGrpSpPr>
          <p:grpSpPr>
            <a:xfrm>
              <a:off x="2309094" y="5202131"/>
              <a:ext cx="266549" cy="390738"/>
              <a:chOff x="2388710" y="3738534"/>
              <a:chExt cx="266549" cy="390738"/>
            </a:xfrm>
            <a:solidFill>
              <a:schemeClr val="accent5"/>
            </a:solidFill>
          </p:grpSpPr>
          <p:sp>
            <p:nvSpPr>
              <p:cNvPr id="58" name="Freeform 243">
                <a:extLst>
                  <a:ext uri="{FF2B5EF4-FFF2-40B4-BE49-F238E27FC236}">
                    <a16:creationId xmlns:a16="http://schemas.microsoft.com/office/drawing/2014/main" id="{7040DD8C-2DB7-2F48-B0E2-38ACBE70747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11932" y="3738534"/>
                <a:ext cx="73705" cy="75724"/>
              </a:xfrm>
              <a:custGeom>
                <a:avLst/>
                <a:gdLst>
                  <a:gd name="T0" fmla="*/ 331 w 661"/>
                  <a:gd name="T1" fmla="*/ 0 h 670"/>
                  <a:gd name="T2" fmla="*/ 376 w 661"/>
                  <a:gd name="T3" fmla="*/ 2 h 670"/>
                  <a:gd name="T4" fmla="*/ 419 w 661"/>
                  <a:gd name="T5" fmla="*/ 12 h 670"/>
                  <a:gd name="T6" fmla="*/ 460 w 661"/>
                  <a:gd name="T7" fmla="*/ 26 h 670"/>
                  <a:gd name="T8" fmla="*/ 498 w 661"/>
                  <a:gd name="T9" fmla="*/ 45 h 670"/>
                  <a:gd name="T10" fmla="*/ 533 w 661"/>
                  <a:gd name="T11" fmla="*/ 69 h 670"/>
                  <a:gd name="T12" fmla="*/ 565 w 661"/>
                  <a:gd name="T13" fmla="*/ 97 h 670"/>
                  <a:gd name="T14" fmla="*/ 593 w 661"/>
                  <a:gd name="T15" fmla="*/ 130 h 670"/>
                  <a:gd name="T16" fmla="*/ 617 w 661"/>
                  <a:gd name="T17" fmla="*/ 165 h 670"/>
                  <a:gd name="T18" fmla="*/ 635 w 661"/>
                  <a:gd name="T19" fmla="*/ 204 h 670"/>
                  <a:gd name="T20" fmla="*/ 650 w 661"/>
                  <a:gd name="T21" fmla="*/ 245 h 670"/>
                  <a:gd name="T22" fmla="*/ 659 w 661"/>
                  <a:gd name="T23" fmla="*/ 289 h 670"/>
                  <a:gd name="T24" fmla="*/ 661 w 661"/>
                  <a:gd name="T25" fmla="*/ 335 h 670"/>
                  <a:gd name="T26" fmla="*/ 659 w 661"/>
                  <a:gd name="T27" fmla="*/ 380 h 670"/>
                  <a:gd name="T28" fmla="*/ 650 w 661"/>
                  <a:gd name="T29" fmla="*/ 424 h 670"/>
                  <a:gd name="T30" fmla="*/ 635 w 661"/>
                  <a:gd name="T31" fmla="*/ 466 h 670"/>
                  <a:gd name="T32" fmla="*/ 617 w 661"/>
                  <a:gd name="T33" fmla="*/ 504 h 670"/>
                  <a:gd name="T34" fmla="*/ 593 w 661"/>
                  <a:gd name="T35" fmla="*/ 539 h 670"/>
                  <a:gd name="T36" fmla="*/ 565 w 661"/>
                  <a:gd name="T37" fmla="*/ 572 h 670"/>
                  <a:gd name="T38" fmla="*/ 533 w 661"/>
                  <a:gd name="T39" fmla="*/ 601 h 670"/>
                  <a:gd name="T40" fmla="*/ 498 w 661"/>
                  <a:gd name="T41" fmla="*/ 625 h 670"/>
                  <a:gd name="T42" fmla="*/ 460 w 661"/>
                  <a:gd name="T43" fmla="*/ 643 h 670"/>
                  <a:gd name="T44" fmla="*/ 419 w 661"/>
                  <a:gd name="T45" fmla="*/ 658 h 670"/>
                  <a:gd name="T46" fmla="*/ 376 w 661"/>
                  <a:gd name="T47" fmla="*/ 667 h 670"/>
                  <a:gd name="T48" fmla="*/ 331 w 661"/>
                  <a:gd name="T49" fmla="*/ 670 h 670"/>
                  <a:gd name="T50" fmla="*/ 286 w 661"/>
                  <a:gd name="T51" fmla="*/ 667 h 670"/>
                  <a:gd name="T52" fmla="*/ 242 w 661"/>
                  <a:gd name="T53" fmla="*/ 658 h 670"/>
                  <a:gd name="T54" fmla="*/ 201 w 661"/>
                  <a:gd name="T55" fmla="*/ 643 h 670"/>
                  <a:gd name="T56" fmla="*/ 163 w 661"/>
                  <a:gd name="T57" fmla="*/ 625 h 670"/>
                  <a:gd name="T58" fmla="*/ 128 w 661"/>
                  <a:gd name="T59" fmla="*/ 601 h 670"/>
                  <a:gd name="T60" fmla="*/ 96 w 661"/>
                  <a:gd name="T61" fmla="*/ 572 h 670"/>
                  <a:gd name="T62" fmla="*/ 68 w 661"/>
                  <a:gd name="T63" fmla="*/ 539 h 670"/>
                  <a:gd name="T64" fmla="*/ 44 w 661"/>
                  <a:gd name="T65" fmla="*/ 504 h 670"/>
                  <a:gd name="T66" fmla="*/ 26 w 661"/>
                  <a:gd name="T67" fmla="*/ 466 h 670"/>
                  <a:gd name="T68" fmla="*/ 11 w 661"/>
                  <a:gd name="T69" fmla="*/ 424 h 670"/>
                  <a:gd name="T70" fmla="*/ 2 w 661"/>
                  <a:gd name="T71" fmla="*/ 380 h 670"/>
                  <a:gd name="T72" fmla="*/ 0 w 661"/>
                  <a:gd name="T73" fmla="*/ 335 h 670"/>
                  <a:gd name="T74" fmla="*/ 2 w 661"/>
                  <a:gd name="T75" fmla="*/ 289 h 670"/>
                  <a:gd name="T76" fmla="*/ 11 w 661"/>
                  <a:gd name="T77" fmla="*/ 245 h 670"/>
                  <a:gd name="T78" fmla="*/ 26 w 661"/>
                  <a:gd name="T79" fmla="*/ 204 h 670"/>
                  <a:gd name="T80" fmla="*/ 44 w 661"/>
                  <a:gd name="T81" fmla="*/ 165 h 670"/>
                  <a:gd name="T82" fmla="*/ 68 w 661"/>
                  <a:gd name="T83" fmla="*/ 130 h 670"/>
                  <a:gd name="T84" fmla="*/ 96 w 661"/>
                  <a:gd name="T85" fmla="*/ 97 h 670"/>
                  <a:gd name="T86" fmla="*/ 128 w 661"/>
                  <a:gd name="T87" fmla="*/ 69 h 670"/>
                  <a:gd name="T88" fmla="*/ 163 w 661"/>
                  <a:gd name="T89" fmla="*/ 45 h 670"/>
                  <a:gd name="T90" fmla="*/ 201 w 661"/>
                  <a:gd name="T91" fmla="*/ 26 h 670"/>
                  <a:gd name="T92" fmla="*/ 242 w 661"/>
                  <a:gd name="T93" fmla="*/ 12 h 670"/>
                  <a:gd name="T94" fmla="*/ 286 w 661"/>
                  <a:gd name="T95" fmla="*/ 2 h 670"/>
                  <a:gd name="T96" fmla="*/ 331 w 661"/>
                  <a:gd name="T97" fmla="*/ 0 h 6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661" h="670">
                    <a:moveTo>
                      <a:pt x="331" y="0"/>
                    </a:moveTo>
                    <a:lnTo>
                      <a:pt x="376" y="2"/>
                    </a:lnTo>
                    <a:lnTo>
                      <a:pt x="419" y="12"/>
                    </a:lnTo>
                    <a:lnTo>
                      <a:pt x="460" y="26"/>
                    </a:lnTo>
                    <a:lnTo>
                      <a:pt x="498" y="45"/>
                    </a:lnTo>
                    <a:lnTo>
                      <a:pt x="533" y="69"/>
                    </a:lnTo>
                    <a:lnTo>
                      <a:pt x="565" y="97"/>
                    </a:lnTo>
                    <a:lnTo>
                      <a:pt x="593" y="130"/>
                    </a:lnTo>
                    <a:lnTo>
                      <a:pt x="617" y="165"/>
                    </a:lnTo>
                    <a:lnTo>
                      <a:pt x="635" y="204"/>
                    </a:lnTo>
                    <a:lnTo>
                      <a:pt x="650" y="245"/>
                    </a:lnTo>
                    <a:lnTo>
                      <a:pt x="659" y="289"/>
                    </a:lnTo>
                    <a:lnTo>
                      <a:pt x="661" y="335"/>
                    </a:lnTo>
                    <a:lnTo>
                      <a:pt x="659" y="380"/>
                    </a:lnTo>
                    <a:lnTo>
                      <a:pt x="650" y="424"/>
                    </a:lnTo>
                    <a:lnTo>
                      <a:pt x="635" y="466"/>
                    </a:lnTo>
                    <a:lnTo>
                      <a:pt x="617" y="504"/>
                    </a:lnTo>
                    <a:lnTo>
                      <a:pt x="593" y="539"/>
                    </a:lnTo>
                    <a:lnTo>
                      <a:pt x="565" y="572"/>
                    </a:lnTo>
                    <a:lnTo>
                      <a:pt x="533" y="601"/>
                    </a:lnTo>
                    <a:lnTo>
                      <a:pt x="498" y="625"/>
                    </a:lnTo>
                    <a:lnTo>
                      <a:pt x="460" y="643"/>
                    </a:lnTo>
                    <a:lnTo>
                      <a:pt x="419" y="658"/>
                    </a:lnTo>
                    <a:lnTo>
                      <a:pt x="376" y="667"/>
                    </a:lnTo>
                    <a:lnTo>
                      <a:pt x="331" y="670"/>
                    </a:lnTo>
                    <a:lnTo>
                      <a:pt x="286" y="667"/>
                    </a:lnTo>
                    <a:lnTo>
                      <a:pt x="242" y="658"/>
                    </a:lnTo>
                    <a:lnTo>
                      <a:pt x="201" y="643"/>
                    </a:lnTo>
                    <a:lnTo>
                      <a:pt x="163" y="625"/>
                    </a:lnTo>
                    <a:lnTo>
                      <a:pt x="128" y="601"/>
                    </a:lnTo>
                    <a:lnTo>
                      <a:pt x="96" y="572"/>
                    </a:lnTo>
                    <a:lnTo>
                      <a:pt x="68" y="539"/>
                    </a:lnTo>
                    <a:lnTo>
                      <a:pt x="44" y="504"/>
                    </a:lnTo>
                    <a:lnTo>
                      <a:pt x="26" y="466"/>
                    </a:lnTo>
                    <a:lnTo>
                      <a:pt x="11" y="424"/>
                    </a:lnTo>
                    <a:lnTo>
                      <a:pt x="2" y="380"/>
                    </a:lnTo>
                    <a:lnTo>
                      <a:pt x="0" y="335"/>
                    </a:lnTo>
                    <a:lnTo>
                      <a:pt x="2" y="289"/>
                    </a:lnTo>
                    <a:lnTo>
                      <a:pt x="11" y="245"/>
                    </a:lnTo>
                    <a:lnTo>
                      <a:pt x="26" y="204"/>
                    </a:lnTo>
                    <a:lnTo>
                      <a:pt x="44" y="165"/>
                    </a:lnTo>
                    <a:lnTo>
                      <a:pt x="68" y="130"/>
                    </a:lnTo>
                    <a:lnTo>
                      <a:pt x="96" y="97"/>
                    </a:lnTo>
                    <a:lnTo>
                      <a:pt x="128" y="69"/>
                    </a:lnTo>
                    <a:lnTo>
                      <a:pt x="163" y="45"/>
                    </a:lnTo>
                    <a:lnTo>
                      <a:pt x="201" y="26"/>
                    </a:lnTo>
                    <a:lnTo>
                      <a:pt x="242" y="12"/>
                    </a:lnTo>
                    <a:lnTo>
                      <a:pt x="286" y="2"/>
                    </a:lnTo>
                    <a:lnTo>
                      <a:pt x="331" y="0"/>
                    </a:lnTo>
                    <a:close/>
                  </a:path>
                </a:pathLst>
              </a:custGeom>
              <a:solidFill>
                <a:srgbClr val="1D967F"/>
              </a:solidFill>
              <a:ln w="0">
                <a:solidFill>
                  <a:srgbClr val="1D967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1" dirty="0"/>
              </a:p>
            </p:txBody>
          </p:sp>
          <p:sp>
            <p:nvSpPr>
              <p:cNvPr id="59" name="Freeform 244">
                <a:extLst>
                  <a:ext uri="{FF2B5EF4-FFF2-40B4-BE49-F238E27FC236}">
                    <a16:creationId xmlns:a16="http://schemas.microsoft.com/office/drawing/2014/main" id="{26988187-2A9C-FB47-B851-DA94E2F958D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88710" y="3817287"/>
                <a:ext cx="266549" cy="311985"/>
              </a:xfrm>
              <a:custGeom>
                <a:avLst/>
                <a:gdLst>
                  <a:gd name="T0" fmla="*/ 447 w 2377"/>
                  <a:gd name="T1" fmla="*/ 6 h 2779"/>
                  <a:gd name="T2" fmla="*/ 538 w 2377"/>
                  <a:gd name="T3" fmla="*/ 36 h 2779"/>
                  <a:gd name="T4" fmla="*/ 617 w 2377"/>
                  <a:gd name="T5" fmla="*/ 91 h 2779"/>
                  <a:gd name="T6" fmla="*/ 677 w 2377"/>
                  <a:gd name="T7" fmla="*/ 168 h 2779"/>
                  <a:gd name="T8" fmla="*/ 746 w 2377"/>
                  <a:gd name="T9" fmla="*/ 281 h 2779"/>
                  <a:gd name="T10" fmla="*/ 916 w 2377"/>
                  <a:gd name="T11" fmla="*/ 529 h 2779"/>
                  <a:gd name="T12" fmla="*/ 1115 w 2377"/>
                  <a:gd name="T13" fmla="*/ 750 h 2779"/>
                  <a:gd name="T14" fmla="*/ 1332 w 2377"/>
                  <a:gd name="T15" fmla="*/ 679 h 2779"/>
                  <a:gd name="T16" fmla="*/ 1521 w 2377"/>
                  <a:gd name="T17" fmla="*/ 449 h 2779"/>
                  <a:gd name="T18" fmla="*/ 1683 w 2377"/>
                  <a:gd name="T19" fmla="*/ 195 h 2779"/>
                  <a:gd name="T20" fmla="*/ 1735 w 2377"/>
                  <a:gd name="T21" fmla="*/ 117 h 2779"/>
                  <a:gd name="T22" fmla="*/ 1808 w 2377"/>
                  <a:gd name="T23" fmla="*/ 53 h 2779"/>
                  <a:gd name="T24" fmla="*/ 1896 w 2377"/>
                  <a:gd name="T25" fmla="*/ 14 h 2779"/>
                  <a:gd name="T26" fmla="*/ 1990 w 2377"/>
                  <a:gd name="T27" fmla="*/ 0 h 2779"/>
                  <a:gd name="T28" fmla="*/ 2080 w 2377"/>
                  <a:gd name="T29" fmla="*/ 16 h 2779"/>
                  <a:gd name="T30" fmla="*/ 2158 w 2377"/>
                  <a:gd name="T31" fmla="*/ 63 h 2779"/>
                  <a:gd name="T32" fmla="*/ 2217 w 2377"/>
                  <a:gd name="T33" fmla="*/ 144 h 2779"/>
                  <a:gd name="T34" fmla="*/ 2275 w 2377"/>
                  <a:gd name="T35" fmla="*/ 408 h 2779"/>
                  <a:gd name="T36" fmla="*/ 2351 w 2377"/>
                  <a:gd name="T37" fmla="*/ 985 h 2779"/>
                  <a:gd name="T38" fmla="*/ 2376 w 2377"/>
                  <a:gd name="T39" fmla="*/ 1413 h 2779"/>
                  <a:gd name="T40" fmla="*/ 2349 w 2377"/>
                  <a:gd name="T41" fmla="*/ 1515 h 2779"/>
                  <a:gd name="T42" fmla="*/ 2337 w 2377"/>
                  <a:gd name="T43" fmla="*/ 1584 h 2779"/>
                  <a:gd name="T44" fmla="*/ 2327 w 2377"/>
                  <a:gd name="T45" fmla="*/ 2669 h 2779"/>
                  <a:gd name="T46" fmla="*/ 2282 w 2377"/>
                  <a:gd name="T47" fmla="*/ 2736 h 2779"/>
                  <a:gd name="T48" fmla="*/ 2213 w 2377"/>
                  <a:gd name="T49" fmla="*/ 2772 h 2779"/>
                  <a:gd name="T50" fmla="*/ 2137 w 2377"/>
                  <a:gd name="T51" fmla="*/ 2776 h 2779"/>
                  <a:gd name="T52" fmla="*/ 2063 w 2377"/>
                  <a:gd name="T53" fmla="*/ 2751 h 2779"/>
                  <a:gd name="T54" fmla="*/ 2009 w 2377"/>
                  <a:gd name="T55" fmla="*/ 2695 h 2779"/>
                  <a:gd name="T56" fmla="*/ 1988 w 2377"/>
                  <a:gd name="T57" fmla="*/ 2608 h 2779"/>
                  <a:gd name="T58" fmla="*/ 1926 w 2377"/>
                  <a:gd name="T59" fmla="*/ 1612 h 2779"/>
                  <a:gd name="T60" fmla="*/ 1850 w 2377"/>
                  <a:gd name="T61" fmla="*/ 1545 h 2779"/>
                  <a:gd name="T62" fmla="*/ 1801 w 2377"/>
                  <a:gd name="T63" fmla="*/ 1449 h 2779"/>
                  <a:gd name="T64" fmla="*/ 1776 w 2377"/>
                  <a:gd name="T65" fmla="*/ 1159 h 2779"/>
                  <a:gd name="T66" fmla="*/ 1663 w 2377"/>
                  <a:gd name="T67" fmla="*/ 829 h 2779"/>
                  <a:gd name="T68" fmla="*/ 1436 w 2377"/>
                  <a:gd name="T69" fmla="*/ 1063 h 2779"/>
                  <a:gd name="T70" fmla="*/ 1325 w 2377"/>
                  <a:gd name="T71" fmla="*/ 1185 h 2779"/>
                  <a:gd name="T72" fmla="*/ 1265 w 2377"/>
                  <a:gd name="T73" fmla="*/ 1235 h 2779"/>
                  <a:gd name="T74" fmla="*/ 1189 w 2377"/>
                  <a:gd name="T75" fmla="*/ 1245 h 2779"/>
                  <a:gd name="T76" fmla="*/ 1112 w 2377"/>
                  <a:gd name="T77" fmla="*/ 1235 h 2779"/>
                  <a:gd name="T78" fmla="*/ 1051 w 2377"/>
                  <a:gd name="T79" fmla="*/ 1185 h 2779"/>
                  <a:gd name="T80" fmla="*/ 942 w 2377"/>
                  <a:gd name="T81" fmla="*/ 1063 h 2779"/>
                  <a:gd name="T82" fmla="*/ 714 w 2377"/>
                  <a:gd name="T83" fmla="*/ 829 h 2779"/>
                  <a:gd name="T84" fmla="*/ 601 w 2377"/>
                  <a:gd name="T85" fmla="*/ 1163 h 2779"/>
                  <a:gd name="T86" fmla="*/ 577 w 2377"/>
                  <a:gd name="T87" fmla="*/ 1452 h 2779"/>
                  <a:gd name="T88" fmla="*/ 527 w 2377"/>
                  <a:gd name="T89" fmla="*/ 1549 h 2779"/>
                  <a:gd name="T90" fmla="*/ 450 w 2377"/>
                  <a:gd name="T91" fmla="*/ 1614 h 2779"/>
                  <a:gd name="T92" fmla="*/ 390 w 2377"/>
                  <a:gd name="T93" fmla="*/ 2608 h 2779"/>
                  <a:gd name="T94" fmla="*/ 368 w 2377"/>
                  <a:gd name="T95" fmla="*/ 2695 h 2779"/>
                  <a:gd name="T96" fmla="*/ 314 w 2377"/>
                  <a:gd name="T97" fmla="*/ 2751 h 2779"/>
                  <a:gd name="T98" fmla="*/ 241 w 2377"/>
                  <a:gd name="T99" fmla="*/ 2776 h 2779"/>
                  <a:gd name="T100" fmla="*/ 164 w 2377"/>
                  <a:gd name="T101" fmla="*/ 2772 h 2779"/>
                  <a:gd name="T102" fmla="*/ 95 w 2377"/>
                  <a:gd name="T103" fmla="*/ 2736 h 2779"/>
                  <a:gd name="T104" fmla="*/ 51 w 2377"/>
                  <a:gd name="T105" fmla="*/ 2669 h 2779"/>
                  <a:gd name="T106" fmla="*/ 41 w 2377"/>
                  <a:gd name="T107" fmla="*/ 1584 h 2779"/>
                  <a:gd name="T108" fmla="*/ 29 w 2377"/>
                  <a:gd name="T109" fmla="*/ 1512 h 2779"/>
                  <a:gd name="T110" fmla="*/ 1 w 2377"/>
                  <a:gd name="T111" fmla="*/ 1408 h 2779"/>
                  <a:gd name="T112" fmla="*/ 26 w 2377"/>
                  <a:gd name="T113" fmla="*/ 982 h 2779"/>
                  <a:gd name="T114" fmla="*/ 103 w 2377"/>
                  <a:gd name="T115" fmla="*/ 406 h 2779"/>
                  <a:gd name="T116" fmla="*/ 160 w 2377"/>
                  <a:gd name="T117" fmla="*/ 143 h 2779"/>
                  <a:gd name="T118" fmla="*/ 218 w 2377"/>
                  <a:gd name="T119" fmla="*/ 63 h 2779"/>
                  <a:gd name="T120" fmla="*/ 296 w 2377"/>
                  <a:gd name="T121" fmla="*/ 16 h 2779"/>
                  <a:gd name="T122" fmla="*/ 386 w 2377"/>
                  <a:gd name="T123" fmla="*/ 0 h 27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2377" h="2779">
                    <a:moveTo>
                      <a:pt x="386" y="0"/>
                    </a:moveTo>
                    <a:lnTo>
                      <a:pt x="417" y="2"/>
                    </a:lnTo>
                    <a:lnTo>
                      <a:pt x="447" y="6"/>
                    </a:lnTo>
                    <a:lnTo>
                      <a:pt x="479" y="13"/>
                    </a:lnTo>
                    <a:lnTo>
                      <a:pt x="509" y="22"/>
                    </a:lnTo>
                    <a:lnTo>
                      <a:pt x="538" y="36"/>
                    </a:lnTo>
                    <a:lnTo>
                      <a:pt x="566" y="52"/>
                    </a:lnTo>
                    <a:lnTo>
                      <a:pt x="592" y="70"/>
                    </a:lnTo>
                    <a:lnTo>
                      <a:pt x="617" y="91"/>
                    </a:lnTo>
                    <a:lnTo>
                      <a:pt x="640" y="114"/>
                    </a:lnTo>
                    <a:lnTo>
                      <a:pt x="659" y="140"/>
                    </a:lnTo>
                    <a:lnTo>
                      <a:pt x="677" y="168"/>
                    </a:lnTo>
                    <a:lnTo>
                      <a:pt x="687" y="180"/>
                    </a:lnTo>
                    <a:lnTo>
                      <a:pt x="694" y="195"/>
                    </a:lnTo>
                    <a:lnTo>
                      <a:pt x="746" y="281"/>
                    </a:lnTo>
                    <a:lnTo>
                      <a:pt x="799" y="367"/>
                    </a:lnTo>
                    <a:lnTo>
                      <a:pt x="857" y="449"/>
                    </a:lnTo>
                    <a:lnTo>
                      <a:pt x="916" y="529"/>
                    </a:lnTo>
                    <a:lnTo>
                      <a:pt x="979" y="606"/>
                    </a:lnTo>
                    <a:lnTo>
                      <a:pt x="1046" y="679"/>
                    </a:lnTo>
                    <a:lnTo>
                      <a:pt x="1115" y="750"/>
                    </a:lnTo>
                    <a:lnTo>
                      <a:pt x="1189" y="818"/>
                    </a:lnTo>
                    <a:lnTo>
                      <a:pt x="1262" y="750"/>
                    </a:lnTo>
                    <a:lnTo>
                      <a:pt x="1332" y="679"/>
                    </a:lnTo>
                    <a:lnTo>
                      <a:pt x="1398" y="606"/>
                    </a:lnTo>
                    <a:lnTo>
                      <a:pt x="1461" y="529"/>
                    </a:lnTo>
                    <a:lnTo>
                      <a:pt x="1521" y="449"/>
                    </a:lnTo>
                    <a:lnTo>
                      <a:pt x="1578" y="367"/>
                    </a:lnTo>
                    <a:lnTo>
                      <a:pt x="1632" y="281"/>
                    </a:lnTo>
                    <a:lnTo>
                      <a:pt x="1683" y="195"/>
                    </a:lnTo>
                    <a:lnTo>
                      <a:pt x="1698" y="170"/>
                    </a:lnTo>
                    <a:lnTo>
                      <a:pt x="1715" y="143"/>
                    </a:lnTo>
                    <a:lnTo>
                      <a:pt x="1735" y="117"/>
                    </a:lnTo>
                    <a:lnTo>
                      <a:pt x="1758" y="93"/>
                    </a:lnTo>
                    <a:lnTo>
                      <a:pt x="1782" y="72"/>
                    </a:lnTo>
                    <a:lnTo>
                      <a:pt x="1808" y="53"/>
                    </a:lnTo>
                    <a:lnTo>
                      <a:pt x="1837" y="37"/>
                    </a:lnTo>
                    <a:lnTo>
                      <a:pt x="1866" y="23"/>
                    </a:lnTo>
                    <a:lnTo>
                      <a:pt x="1896" y="14"/>
                    </a:lnTo>
                    <a:lnTo>
                      <a:pt x="1928" y="6"/>
                    </a:lnTo>
                    <a:lnTo>
                      <a:pt x="1959" y="2"/>
                    </a:lnTo>
                    <a:lnTo>
                      <a:pt x="1990" y="0"/>
                    </a:lnTo>
                    <a:lnTo>
                      <a:pt x="2021" y="3"/>
                    </a:lnTo>
                    <a:lnTo>
                      <a:pt x="2051" y="7"/>
                    </a:lnTo>
                    <a:lnTo>
                      <a:pt x="2080" y="16"/>
                    </a:lnTo>
                    <a:lnTo>
                      <a:pt x="2108" y="28"/>
                    </a:lnTo>
                    <a:lnTo>
                      <a:pt x="2134" y="44"/>
                    </a:lnTo>
                    <a:lnTo>
                      <a:pt x="2158" y="63"/>
                    </a:lnTo>
                    <a:lnTo>
                      <a:pt x="2181" y="86"/>
                    </a:lnTo>
                    <a:lnTo>
                      <a:pt x="2200" y="113"/>
                    </a:lnTo>
                    <a:lnTo>
                      <a:pt x="2217" y="144"/>
                    </a:lnTo>
                    <a:lnTo>
                      <a:pt x="2230" y="178"/>
                    </a:lnTo>
                    <a:lnTo>
                      <a:pt x="2239" y="218"/>
                    </a:lnTo>
                    <a:lnTo>
                      <a:pt x="2275" y="408"/>
                    </a:lnTo>
                    <a:lnTo>
                      <a:pt x="2305" y="600"/>
                    </a:lnTo>
                    <a:lnTo>
                      <a:pt x="2330" y="792"/>
                    </a:lnTo>
                    <a:lnTo>
                      <a:pt x="2351" y="985"/>
                    </a:lnTo>
                    <a:lnTo>
                      <a:pt x="2367" y="1178"/>
                    </a:lnTo>
                    <a:lnTo>
                      <a:pt x="2377" y="1372"/>
                    </a:lnTo>
                    <a:lnTo>
                      <a:pt x="2376" y="1413"/>
                    </a:lnTo>
                    <a:lnTo>
                      <a:pt x="2372" y="1450"/>
                    </a:lnTo>
                    <a:lnTo>
                      <a:pt x="2362" y="1484"/>
                    </a:lnTo>
                    <a:lnTo>
                      <a:pt x="2349" y="1515"/>
                    </a:lnTo>
                    <a:lnTo>
                      <a:pt x="2333" y="1543"/>
                    </a:lnTo>
                    <a:lnTo>
                      <a:pt x="2336" y="1563"/>
                    </a:lnTo>
                    <a:lnTo>
                      <a:pt x="2337" y="1584"/>
                    </a:lnTo>
                    <a:lnTo>
                      <a:pt x="2337" y="2608"/>
                    </a:lnTo>
                    <a:lnTo>
                      <a:pt x="2334" y="2640"/>
                    </a:lnTo>
                    <a:lnTo>
                      <a:pt x="2327" y="2669"/>
                    </a:lnTo>
                    <a:lnTo>
                      <a:pt x="2315" y="2695"/>
                    </a:lnTo>
                    <a:lnTo>
                      <a:pt x="2300" y="2717"/>
                    </a:lnTo>
                    <a:lnTo>
                      <a:pt x="2282" y="2736"/>
                    </a:lnTo>
                    <a:lnTo>
                      <a:pt x="2261" y="2751"/>
                    </a:lnTo>
                    <a:lnTo>
                      <a:pt x="2238" y="2763"/>
                    </a:lnTo>
                    <a:lnTo>
                      <a:pt x="2213" y="2772"/>
                    </a:lnTo>
                    <a:lnTo>
                      <a:pt x="2189" y="2776"/>
                    </a:lnTo>
                    <a:lnTo>
                      <a:pt x="2163" y="2779"/>
                    </a:lnTo>
                    <a:lnTo>
                      <a:pt x="2137" y="2776"/>
                    </a:lnTo>
                    <a:lnTo>
                      <a:pt x="2111" y="2772"/>
                    </a:lnTo>
                    <a:lnTo>
                      <a:pt x="2086" y="2763"/>
                    </a:lnTo>
                    <a:lnTo>
                      <a:pt x="2063" y="2751"/>
                    </a:lnTo>
                    <a:lnTo>
                      <a:pt x="2042" y="2736"/>
                    </a:lnTo>
                    <a:lnTo>
                      <a:pt x="2024" y="2717"/>
                    </a:lnTo>
                    <a:lnTo>
                      <a:pt x="2009" y="2695"/>
                    </a:lnTo>
                    <a:lnTo>
                      <a:pt x="1998" y="2669"/>
                    </a:lnTo>
                    <a:lnTo>
                      <a:pt x="1990" y="2640"/>
                    </a:lnTo>
                    <a:lnTo>
                      <a:pt x="1988" y="2608"/>
                    </a:lnTo>
                    <a:lnTo>
                      <a:pt x="1988" y="1641"/>
                    </a:lnTo>
                    <a:lnTo>
                      <a:pt x="1957" y="1627"/>
                    </a:lnTo>
                    <a:lnTo>
                      <a:pt x="1926" y="1612"/>
                    </a:lnTo>
                    <a:lnTo>
                      <a:pt x="1898" y="1592"/>
                    </a:lnTo>
                    <a:lnTo>
                      <a:pt x="1873" y="1570"/>
                    </a:lnTo>
                    <a:lnTo>
                      <a:pt x="1850" y="1545"/>
                    </a:lnTo>
                    <a:lnTo>
                      <a:pt x="1830" y="1516"/>
                    </a:lnTo>
                    <a:lnTo>
                      <a:pt x="1814" y="1484"/>
                    </a:lnTo>
                    <a:lnTo>
                      <a:pt x="1801" y="1449"/>
                    </a:lnTo>
                    <a:lnTo>
                      <a:pt x="1792" y="1410"/>
                    </a:lnTo>
                    <a:lnTo>
                      <a:pt x="1788" y="1368"/>
                    </a:lnTo>
                    <a:lnTo>
                      <a:pt x="1776" y="1159"/>
                    </a:lnTo>
                    <a:lnTo>
                      <a:pt x="1758" y="952"/>
                    </a:lnTo>
                    <a:lnTo>
                      <a:pt x="1733" y="746"/>
                    </a:lnTo>
                    <a:lnTo>
                      <a:pt x="1663" y="829"/>
                    </a:lnTo>
                    <a:lnTo>
                      <a:pt x="1591" y="910"/>
                    </a:lnTo>
                    <a:lnTo>
                      <a:pt x="1515" y="988"/>
                    </a:lnTo>
                    <a:lnTo>
                      <a:pt x="1436" y="1063"/>
                    </a:lnTo>
                    <a:lnTo>
                      <a:pt x="1353" y="1136"/>
                    </a:lnTo>
                    <a:lnTo>
                      <a:pt x="1341" y="1162"/>
                    </a:lnTo>
                    <a:lnTo>
                      <a:pt x="1325" y="1185"/>
                    </a:lnTo>
                    <a:lnTo>
                      <a:pt x="1308" y="1205"/>
                    </a:lnTo>
                    <a:lnTo>
                      <a:pt x="1288" y="1222"/>
                    </a:lnTo>
                    <a:lnTo>
                      <a:pt x="1265" y="1235"/>
                    </a:lnTo>
                    <a:lnTo>
                      <a:pt x="1241" y="1244"/>
                    </a:lnTo>
                    <a:lnTo>
                      <a:pt x="1215" y="1247"/>
                    </a:lnTo>
                    <a:lnTo>
                      <a:pt x="1189" y="1245"/>
                    </a:lnTo>
                    <a:lnTo>
                      <a:pt x="1162" y="1247"/>
                    </a:lnTo>
                    <a:lnTo>
                      <a:pt x="1136" y="1244"/>
                    </a:lnTo>
                    <a:lnTo>
                      <a:pt x="1112" y="1235"/>
                    </a:lnTo>
                    <a:lnTo>
                      <a:pt x="1089" y="1222"/>
                    </a:lnTo>
                    <a:lnTo>
                      <a:pt x="1070" y="1205"/>
                    </a:lnTo>
                    <a:lnTo>
                      <a:pt x="1051" y="1185"/>
                    </a:lnTo>
                    <a:lnTo>
                      <a:pt x="1036" y="1162"/>
                    </a:lnTo>
                    <a:lnTo>
                      <a:pt x="1024" y="1136"/>
                    </a:lnTo>
                    <a:lnTo>
                      <a:pt x="942" y="1063"/>
                    </a:lnTo>
                    <a:lnTo>
                      <a:pt x="862" y="988"/>
                    </a:lnTo>
                    <a:lnTo>
                      <a:pt x="786" y="910"/>
                    </a:lnTo>
                    <a:lnTo>
                      <a:pt x="714" y="829"/>
                    </a:lnTo>
                    <a:lnTo>
                      <a:pt x="644" y="746"/>
                    </a:lnTo>
                    <a:lnTo>
                      <a:pt x="619" y="953"/>
                    </a:lnTo>
                    <a:lnTo>
                      <a:pt x="601" y="1163"/>
                    </a:lnTo>
                    <a:lnTo>
                      <a:pt x="589" y="1372"/>
                    </a:lnTo>
                    <a:lnTo>
                      <a:pt x="586" y="1414"/>
                    </a:lnTo>
                    <a:lnTo>
                      <a:pt x="577" y="1452"/>
                    </a:lnTo>
                    <a:lnTo>
                      <a:pt x="564" y="1488"/>
                    </a:lnTo>
                    <a:lnTo>
                      <a:pt x="547" y="1520"/>
                    </a:lnTo>
                    <a:lnTo>
                      <a:pt x="527" y="1549"/>
                    </a:lnTo>
                    <a:lnTo>
                      <a:pt x="505" y="1574"/>
                    </a:lnTo>
                    <a:lnTo>
                      <a:pt x="479" y="1596"/>
                    </a:lnTo>
                    <a:lnTo>
                      <a:pt x="450" y="1614"/>
                    </a:lnTo>
                    <a:lnTo>
                      <a:pt x="421" y="1630"/>
                    </a:lnTo>
                    <a:lnTo>
                      <a:pt x="390" y="1642"/>
                    </a:lnTo>
                    <a:lnTo>
                      <a:pt x="390" y="2608"/>
                    </a:lnTo>
                    <a:lnTo>
                      <a:pt x="387" y="2640"/>
                    </a:lnTo>
                    <a:lnTo>
                      <a:pt x="380" y="2669"/>
                    </a:lnTo>
                    <a:lnTo>
                      <a:pt x="368" y="2695"/>
                    </a:lnTo>
                    <a:lnTo>
                      <a:pt x="353" y="2717"/>
                    </a:lnTo>
                    <a:lnTo>
                      <a:pt x="335" y="2736"/>
                    </a:lnTo>
                    <a:lnTo>
                      <a:pt x="314" y="2751"/>
                    </a:lnTo>
                    <a:lnTo>
                      <a:pt x="291" y="2763"/>
                    </a:lnTo>
                    <a:lnTo>
                      <a:pt x="266" y="2772"/>
                    </a:lnTo>
                    <a:lnTo>
                      <a:pt x="241" y="2776"/>
                    </a:lnTo>
                    <a:lnTo>
                      <a:pt x="215" y="2779"/>
                    </a:lnTo>
                    <a:lnTo>
                      <a:pt x="190" y="2776"/>
                    </a:lnTo>
                    <a:lnTo>
                      <a:pt x="164" y="2772"/>
                    </a:lnTo>
                    <a:lnTo>
                      <a:pt x="139" y="2763"/>
                    </a:lnTo>
                    <a:lnTo>
                      <a:pt x="116" y="2751"/>
                    </a:lnTo>
                    <a:lnTo>
                      <a:pt x="95" y="2736"/>
                    </a:lnTo>
                    <a:lnTo>
                      <a:pt x="77" y="2717"/>
                    </a:lnTo>
                    <a:lnTo>
                      <a:pt x="62" y="2695"/>
                    </a:lnTo>
                    <a:lnTo>
                      <a:pt x="51" y="2669"/>
                    </a:lnTo>
                    <a:lnTo>
                      <a:pt x="43" y="2640"/>
                    </a:lnTo>
                    <a:lnTo>
                      <a:pt x="41" y="2608"/>
                    </a:lnTo>
                    <a:lnTo>
                      <a:pt x="41" y="1584"/>
                    </a:lnTo>
                    <a:lnTo>
                      <a:pt x="42" y="1562"/>
                    </a:lnTo>
                    <a:lnTo>
                      <a:pt x="45" y="1541"/>
                    </a:lnTo>
                    <a:lnTo>
                      <a:pt x="29" y="1512"/>
                    </a:lnTo>
                    <a:lnTo>
                      <a:pt x="16" y="1481"/>
                    </a:lnTo>
                    <a:lnTo>
                      <a:pt x="6" y="1447"/>
                    </a:lnTo>
                    <a:lnTo>
                      <a:pt x="1" y="1408"/>
                    </a:lnTo>
                    <a:lnTo>
                      <a:pt x="0" y="1368"/>
                    </a:lnTo>
                    <a:lnTo>
                      <a:pt x="11" y="1175"/>
                    </a:lnTo>
                    <a:lnTo>
                      <a:pt x="26" y="982"/>
                    </a:lnTo>
                    <a:lnTo>
                      <a:pt x="47" y="789"/>
                    </a:lnTo>
                    <a:lnTo>
                      <a:pt x="73" y="597"/>
                    </a:lnTo>
                    <a:lnTo>
                      <a:pt x="103" y="406"/>
                    </a:lnTo>
                    <a:lnTo>
                      <a:pt x="138" y="215"/>
                    </a:lnTo>
                    <a:lnTo>
                      <a:pt x="147" y="177"/>
                    </a:lnTo>
                    <a:lnTo>
                      <a:pt x="160" y="143"/>
                    </a:lnTo>
                    <a:lnTo>
                      <a:pt x="177" y="112"/>
                    </a:lnTo>
                    <a:lnTo>
                      <a:pt x="196" y="85"/>
                    </a:lnTo>
                    <a:lnTo>
                      <a:pt x="218" y="63"/>
                    </a:lnTo>
                    <a:lnTo>
                      <a:pt x="243" y="43"/>
                    </a:lnTo>
                    <a:lnTo>
                      <a:pt x="269" y="28"/>
                    </a:lnTo>
                    <a:lnTo>
                      <a:pt x="296" y="16"/>
                    </a:lnTo>
                    <a:lnTo>
                      <a:pt x="325" y="7"/>
                    </a:lnTo>
                    <a:lnTo>
                      <a:pt x="355" y="2"/>
                    </a:lnTo>
                    <a:lnTo>
                      <a:pt x="386" y="0"/>
                    </a:lnTo>
                    <a:close/>
                  </a:path>
                </a:pathLst>
              </a:custGeom>
              <a:solidFill>
                <a:srgbClr val="1D967F"/>
              </a:solidFill>
              <a:ln w="0">
                <a:solidFill>
                  <a:srgbClr val="1D967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1" dirty="0"/>
              </a:p>
            </p:txBody>
          </p:sp>
          <p:sp>
            <p:nvSpPr>
              <p:cNvPr id="60" name="Freeform 245">
                <a:extLst>
                  <a:ext uri="{FF2B5EF4-FFF2-40B4-BE49-F238E27FC236}">
                    <a16:creationId xmlns:a16="http://schemas.microsoft.com/office/drawing/2014/main" id="{BC7ACE11-E924-274F-A13C-3B7A8E69B50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58332" y="3738534"/>
                <a:ext cx="73705" cy="75724"/>
              </a:xfrm>
              <a:custGeom>
                <a:avLst/>
                <a:gdLst>
                  <a:gd name="T0" fmla="*/ 332 w 663"/>
                  <a:gd name="T1" fmla="*/ 0 h 670"/>
                  <a:gd name="T2" fmla="*/ 377 w 663"/>
                  <a:gd name="T3" fmla="*/ 2 h 670"/>
                  <a:gd name="T4" fmla="*/ 420 w 663"/>
                  <a:gd name="T5" fmla="*/ 12 h 670"/>
                  <a:gd name="T6" fmla="*/ 461 w 663"/>
                  <a:gd name="T7" fmla="*/ 26 h 670"/>
                  <a:gd name="T8" fmla="*/ 499 w 663"/>
                  <a:gd name="T9" fmla="*/ 45 h 670"/>
                  <a:gd name="T10" fmla="*/ 534 w 663"/>
                  <a:gd name="T11" fmla="*/ 69 h 670"/>
                  <a:gd name="T12" fmla="*/ 566 w 663"/>
                  <a:gd name="T13" fmla="*/ 97 h 670"/>
                  <a:gd name="T14" fmla="*/ 594 w 663"/>
                  <a:gd name="T15" fmla="*/ 130 h 670"/>
                  <a:gd name="T16" fmla="*/ 618 w 663"/>
                  <a:gd name="T17" fmla="*/ 165 h 670"/>
                  <a:gd name="T18" fmla="*/ 637 w 663"/>
                  <a:gd name="T19" fmla="*/ 204 h 670"/>
                  <a:gd name="T20" fmla="*/ 651 w 663"/>
                  <a:gd name="T21" fmla="*/ 245 h 670"/>
                  <a:gd name="T22" fmla="*/ 660 w 663"/>
                  <a:gd name="T23" fmla="*/ 289 h 670"/>
                  <a:gd name="T24" fmla="*/ 663 w 663"/>
                  <a:gd name="T25" fmla="*/ 335 h 670"/>
                  <a:gd name="T26" fmla="*/ 660 w 663"/>
                  <a:gd name="T27" fmla="*/ 380 h 670"/>
                  <a:gd name="T28" fmla="*/ 651 w 663"/>
                  <a:gd name="T29" fmla="*/ 424 h 670"/>
                  <a:gd name="T30" fmla="*/ 637 w 663"/>
                  <a:gd name="T31" fmla="*/ 466 h 670"/>
                  <a:gd name="T32" fmla="*/ 618 w 663"/>
                  <a:gd name="T33" fmla="*/ 504 h 670"/>
                  <a:gd name="T34" fmla="*/ 594 w 663"/>
                  <a:gd name="T35" fmla="*/ 539 h 670"/>
                  <a:gd name="T36" fmla="*/ 566 w 663"/>
                  <a:gd name="T37" fmla="*/ 572 h 670"/>
                  <a:gd name="T38" fmla="*/ 534 w 663"/>
                  <a:gd name="T39" fmla="*/ 601 h 670"/>
                  <a:gd name="T40" fmla="*/ 499 w 663"/>
                  <a:gd name="T41" fmla="*/ 625 h 670"/>
                  <a:gd name="T42" fmla="*/ 461 w 663"/>
                  <a:gd name="T43" fmla="*/ 643 h 670"/>
                  <a:gd name="T44" fmla="*/ 420 w 663"/>
                  <a:gd name="T45" fmla="*/ 658 h 670"/>
                  <a:gd name="T46" fmla="*/ 377 w 663"/>
                  <a:gd name="T47" fmla="*/ 667 h 670"/>
                  <a:gd name="T48" fmla="*/ 332 w 663"/>
                  <a:gd name="T49" fmla="*/ 670 h 670"/>
                  <a:gd name="T50" fmla="*/ 286 w 663"/>
                  <a:gd name="T51" fmla="*/ 667 h 670"/>
                  <a:gd name="T52" fmla="*/ 244 w 663"/>
                  <a:gd name="T53" fmla="*/ 658 h 670"/>
                  <a:gd name="T54" fmla="*/ 203 w 663"/>
                  <a:gd name="T55" fmla="*/ 643 h 670"/>
                  <a:gd name="T56" fmla="*/ 165 w 663"/>
                  <a:gd name="T57" fmla="*/ 625 h 670"/>
                  <a:gd name="T58" fmla="*/ 129 w 663"/>
                  <a:gd name="T59" fmla="*/ 601 h 670"/>
                  <a:gd name="T60" fmla="*/ 98 w 663"/>
                  <a:gd name="T61" fmla="*/ 572 h 670"/>
                  <a:gd name="T62" fmla="*/ 70 w 663"/>
                  <a:gd name="T63" fmla="*/ 539 h 670"/>
                  <a:gd name="T64" fmla="*/ 46 w 663"/>
                  <a:gd name="T65" fmla="*/ 504 h 670"/>
                  <a:gd name="T66" fmla="*/ 26 w 663"/>
                  <a:gd name="T67" fmla="*/ 466 h 670"/>
                  <a:gd name="T68" fmla="*/ 12 w 663"/>
                  <a:gd name="T69" fmla="*/ 424 h 670"/>
                  <a:gd name="T70" fmla="*/ 4 w 663"/>
                  <a:gd name="T71" fmla="*/ 380 h 670"/>
                  <a:gd name="T72" fmla="*/ 0 w 663"/>
                  <a:gd name="T73" fmla="*/ 335 h 670"/>
                  <a:gd name="T74" fmla="*/ 4 w 663"/>
                  <a:gd name="T75" fmla="*/ 289 h 670"/>
                  <a:gd name="T76" fmla="*/ 12 w 663"/>
                  <a:gd name="T77" fmla="*/ 245 h 670"/>
                  <a:gd name="T78" fmla="*/ 26 w 663"/>
                  <a:gd name="T79" fmla="*/ 204 h 670"/>
                  <a:gd name="T80" fmla="*/ 46 w 663"/>
                  <a:gd name="T81" fmla="*/ 165 h 670"/>
                  <a:gd name="T82" fmla="*/ 70 w 663"/>
                  <a:gd name="T83" fmla="*/ 130 h 670"/>
                  <a:gd name="T84" fmla="*/ 98 w 663"/>
                  <a:gd name="T85" fmla="*/ 97 h 670"/>
                  <a:gd name="T86" fmla="*/ 129 w 663"/>
                  <a:gd name="T87" fmla="*/ 69 h 670"/>
                  <a:gd name="T88" fmla="*/ 165 w 663"/>
                  <a:gd name="T89" fmla="*/ 45 h 670"/>
                  <a:gd name="T90" fmla="*/ 203 w 663"/>
                  <a:gd name="T91" fmla="*/ 26 h 670"/>
                  <a:gd name="T92" fmla="*/ 244 w 663"/>
                  <a:gd name="T93" fmla="*/ 12 h 670"/>
                  <a:gd name="T94" fmla="*/ 286 w 663"/>
                  <a:gd name="T95" fmla="*/ 2 h 670"/>
                  <a:gd name="T96" fmla="*/ 332 w 663"/>
                  <a:gd name="T97" fmla="*/ 0 h 6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663" h="670">
                    <a:moveTo>
                      <a:pt x="332" y="0"/>
                    </a:moveTo>
                    <a:lnTo>
                      <a:pt x="377" y="2"/>
                    </a:lnTo>
                    <a:lnTo>
                      <a:pt x="420" y="12"/>
                    </a:lnTo>
                    <a:lnTo>
                      <a:pt x="461" y="26"/>
                    </a:lnTo>
                    <a:lnTo>
                      <a:pt x="499" y="45"/>
                    </a:lnTo>
                    <a:lnTo>
                      <a:pt x="534" y="69"/>
                    </a:lnTo>
                    <a:lnTo>
                      <a:pt x="566" y="97"/>
                    </a:lnTo>
                    <a:lnTo>
                      <a:pt x="594" y="130"/>
                    </a:lnTo>
                    <a:lnTo>
                      <a:pt x="618" y="165"/>
                    </a:lnTo>
                    <a:lnTo>
                      <a:pt x="637" y="204"/>
                    </a:lnTo>
                    <a:lnTo>
                      <a:pt x="651" y="245"/>
                    </a:lnTo>
                    <a:lnTo>
                      <a:pt x="660" y="289"/>
                    </a:lnTo>
                    <a:lnTo>
                      <a:pt x="663" y="335"/>
                    </a:lnTo>
                    <a:lnTo>
                      <a:pt x="660" y="380"/>
                    </a:lnTo>
                    <a:lnTo>
                      <a:pt x="651" y="424"/>
                    </a:lnTo>
                    <a:lnTo>
                      <a:pt x="637" y="466"/>
                    </a:lnTo>
                    <a:lnTo>
                      <a:pt x="618" y="504"/>
                    </a:lnTo>
                    <a:lnTo>
                      <a:pt x="594" y="539"/>
                    </a:lnTo>
                    <a:lnTo>
                      <a:pt x="566" y="572"/>
                    </a:lnTo>
                    <a:lnTo>
                      <a:pt x="534" y="601"/>
                    </a:lnTo>
                    <a:lnTo>
                      <a:pt x="499" y="625"/>
                    </a:lnTo>
                    <a:lnTo>
                      <a:pt x="461" y="643"/>
                    </a:lnTo>
                    <a:lnTo>
                      <a:pt x="420" y="658"/>
                    </a:lnTo>
                    <a:lnTo>
                      <a:pt x="377" y="667"/>
                    </a:lnTo>
                    <a:lnTo>
                      <a:pt x="332" y="670"/>
                    </a:lnTo>
                    <a:lnTo>
                      <a:pt x="286" y="667"/>
                    </a:lnTo>
                    <a:lnTo>
                      <a:pt x="244" y="658"/>
                    </a:lnTo>
                    <a:lnTo>
                      <a:pt x="203" y="643"/>
                    </a:lnTo>
                    <a:lnTo>
                      <a:pt x="165" y="625"/>
                    </a:lnTo>
                    <a:lnTo>
                      <a:pt x="129" y="601"/>
                    </a:lnTo>
                    <a:lnTo>
                      <a:pt x="98" y="572"/>
                    </a:lnTo>
                    <a:lnTo>
                      <a:pt x="70" y="539"/>
                    </a:lnTo>
                    <a:lnTo>
                      <a:pt x="46" y="504"/>
                    </a:lnTo>
                    <a:lnTo>
                      <a:pt x="26" y="466"/>
                    </a:lnTo>
                    <a:lnTo>
                      <a:pt x="12" y="424"/>
                    </a:lnTo>
                    <a:lnTo>
                      <a:pt x="4" y="380"/>
                    </a:lnTo>
                    <a:lnTo>
                      <a:pt x="0" y="335"/>
                    </a:lnTo>
                    <a:lnTo>
                      <a:pt x="4" y="289"/>
                    </a:lnTo>
                    <a:lnTo>
                      <a:pt x="12" y="245"/>
                    </a:lnTo>
                    <a:lnTo>
                      <a:pt x="26" y="204"/>
                    </a:lnTo>
                    <a:lnTo>
                      <a:pt x="46" y="165"/>
                    </a:lnTo>
                    <a:lnTo>
                      <a:pt x="70" y="130"/>
                    </a:lnTo>
                    <a:lnTo>
                      <a:pt x="98" y="97"/>
                    </a:lnTo>
                    <a:lnTo>
                      <a:pt x="129" y="69"/>
                    </a:lnTo>
                    <a:lnTo>
                      <a:pt x="165" y="45"/>
                    </a:lnTo>
                    <a:lnTo>
                      <a:pt x="203" y="26"/>
                    </a:lnTo>
                    <a:lnTo>
                      <a:pt x="244" y="12"/>
                    </a:lnTo>
                    <a:lnTo>
                      <a:pt x="286" y="2"/>
                    </a:lnTo>
                    <a:lnTo>
                      <a:pt x="332" y="0"/>
                    </a:lnTo>
                    <a:close/>
                  </a:path>
                </a:pathLst>
              </a:custGeom>
              <a:solidFill>
                <a:srgbClr val="1D967F"/>
              </a:solidFill>
              <a:ln w="0">
                <a:solidFill>
                  <a:srgbClr val="1D967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1" dirty="0"/>
              </a:p>
            </p:txBody>
          </p:sp>
        </p:grpSp>
      </p:grpSp>
      <p:sp>
        <p:nvSpPr>
          <p:cNvPr id="61" name="TextBox 70">
            <a:extLst>
              <a:ext uri="{FF2B5EF4-FFF2-40B4-BE49-F238E27FC236}">
                <a16:creationId xmlns:a16="http://schemas.microsoft.com/office/drawing/2014/main" id="{A1425F3B-F517-C446-806E-121253A290A5}"/>
              </a:ext>
            </a:extLst>
          </p:cNvPr>
          <p:cNvSpPr txBox="1"/>
          <p:nvPr/>
        </p:nvSpPr>
        <p:spPr>
          <a:xfrm>
            <a:off x="730351" y="5566713"/>
            <a:ext cx="1457289" cy="9133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09585"/>
            <a:r>
              <a:rPr lang="fr-FR" sz="1067" dirty="0">
                <a:solidFill>
                  <a:prstClr val="black">
                    <a:lumMod val="95000"/>
                    <a:lumOff val="5000"/>
                  </a:prstClr>
                </a:solidFill>
                <a:latin typeface="Marianne" panose="02000000000000000000" pitchFamily="2" charset="0"/>
              </a:rPr>
              <a:t>Réservation sur </a:t>
            </a:r>
            <a:r>
              <a:rPr lang="fr-FR" sz="1067" dirty="0" smtClean="0">
                <a:solidFill>
                  <a:prstClr val="black">
                    <a:lumMod val="95000"/>
                    <a:lumOff val="5000"/>
                  </a:prstClr>
                </a:solidFill>
                <a:latin typeface="Marianne" panose="02000000000000000000" pitchFamily="2" charset="0"/>
              </a:rPr>
              <a:t>X </a:t>
            </a:r>
            <a:r>
              <a:rPr lang="fr-FR" sz="1067" dirty="0">
                <a:solidFill>
                  <a:prstClr val="black">
                    <a:lumMod val="95000"/>
                    <a:lumOff val="5000"/>
                  </a:prstClr>
                </a:solidFill>
                <a:latin typeface="Marianne" panose="02000000000000000000" pitchFamily="2" charset="0"/>
              </a:rPr>
              <a:t>ans par </a:t>
            </a:r>
            <a:r>
              <a:rPr lang="fr-FR" sz="1067" dirty="0" smtClean="0">
                <a:solidFill>
                  <a:prstClr val="black">
                    <a:lumMod val="95000"/>
                    <a:lumOff val="5000"/>
                  </a:prstClr>
                </a:solidFill>
                <a:latin typeface="Marianne" panose="02000000000000000000" pitchFamily="2" charset="0"/>
              </a:rPr>
              <a:t>ALS en contrepartie des financement PEEC octroyés</a:t>
            </a:r>
            <a:endParaRPr lang="fr-FR" sz="1067" dirty="0">
              <a:solidFill>
                <a:srgbClr val="7FCECD"/>
              </a:solidFill>
              <a:latin typeface="Marianne" panose="02000000000000000000" pitchFamily="2" charset="0"/>
            </a:endParaRPr>
          </a:p>
        </p:txBody>
      </p:sp>
      <p:sp>
        <p:nvSpPr>
          <p:cNvPr id="62" name="TextBox 70">
            <a:extLst>
              <a:ext uri="{FF2B5EF4-FFF2-40B4-BE49-F238E27FC236}">
                <a16:creationId xmlns:a16="http://schemas.microsoft.com/office/drawing/2014/main" id="{180B4944-5301-E646-80A2-EBC6FC13613E}"/>
              </a:ext>
            </a:extLst>
          </p:cNvPr>
          <p:cNvSpPr txBox="1"/>
          <p:nvPr/>
        </p:nvSpPr>
        <p:spPr>
          <a:xfrm>
            <a:off x="1454672" y="2521329"/>
            <a:ext cx="1457289" cy="58496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09585"/>
            <a:r>
              <a:rPr lang="fr-FR" sz="1067" dirty="0">
                <a:solidFill>
                  <a:prstClr val="black">
                    <a:lumMod val="95000"/>
                    <a:lumOff val="5000"/>
                  </a:prstClr>
                </a:solidFill>
                <a:latin typeface="Marianne" panose="02000000000000000000" pitchFamily="2" charset="0"/>
              </a:rPr>
              <a:t>Réservation à vie pour l’Etat en contrepartie des aides à la pierre</a:t>
            </a:r>
            <a:endParaRPr lang="fr-FR" sz="1067" dirty="0">
              <a:solidFill>
                <a:srgbClr val="7FCECD"/>
              </a:solidFill>
              <a:latin typeface="Marianne" panose="02000000000000000000" pitchFamily="2" charset="0"/>
            </a:endParaRPr>
          </a:p>
        </p:txBody>
      </p:sp>
      <p:grpSp>
        <p:nvGrpSpPr>
          <p:cNvPr id="63" name="Group 91">
            <a:extLst>
              <a:ext uri="{FF2B5EF4-FFF2-40B4-BE49-F238E27FC236}">
                <a16:creationId xmlns:a16="http://schemas.microsoft.com/office/drawing/2014/main" id="{F512A39C-1F2C-954D-A749-195B896B4442}"/>
              </a:ext>
            </a:extLst>
          </p:cNvPr>
          <p:cNvGrpSpPr/>
          <p:nvPr/>
        </p:nvGrpSpPr>
        <p:grpSpPr>
          <a:xfrm>
            <a:off x="2988018" y="3234438"/>
            <a:ext cx="944563" cy="942975"/>
            <a:chOff x="1970088" y="4926013"/>
            <a:chExt cx="944563" cy="942975"/>
          </a:xfrm>
        </p:grpSpPr>
        <p:sp>
          <p:nvSpPr>
            <p:cNvPr id="64" name="Oval 40">
              <a:extLst>
                <a:ext uri="{FF2B5EF4-FFF2-40B4-BE49-F238E27FC236}">
                  <a16:creationId xmlns:a16="http://schemas.microsoft.com/office/drawing/2014/main" id="{266E64A3-6288-DD45-B4AA-690C18737B2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70088" y="4926013"/>
              <a:ext cx="944563" cy="942975"/>
            </a:xfrm>
            <a:prstGeom prst="ellipse">
              <a:avLst/>
            </a:prstGeom>
            <a:solidFill>
              <a:srgbClr val="FFFFFF"/>
            </a:solidFill>
            <a:ln w="50800" cap="flat">
              <a:solidFill>
                <a:srgbClr val="0070C0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1"/>
            </a:p>
          </p:txBody>
        </p:sp>
        <p:grpSp>
          <p:nvGrpSpPr>
            <p:cNvPr id="65" name="Group 45">
              <a:extLst>
                <a:ext uri="{FF2B5EF4-FFF2-40B4-BE49-F238E27FC236}">
                  <a16:creationId xmlns:a16="http://schemas.microsoft.com/office/drawing/2014/main" id="{8B527BC8-8789-634A-B74F-0A11D0D1EED2}"/>
                </a:ext>
              </a:extLst>
            </p:cNvPr>
            <p:cNvGrpSpPr/>
            <p:nvPr/>
          </p:nvGrpSpPr>
          <p:grpSpPr>
            <a:xfrm>
              <a:off x="2309094" y="5202131"/>
              <a:ext cx="266549" cy="390738"/>
              <a:chOff x="2388710" y="3738534"/>
              <a:chExt cx="266549" cy="390738"/>
            </a:xfrm>
            <a:solidFill>
              <a:schemeClr val="accent5"/>
            </a:solidFill>
          </p:grpSpPr>
          <p:sp>
            <p:nvSpPr>
              <p:cNvPr id="66" name="Freeform 243">
                <a:extLst>
                  <a:ext uri="{FF2B5EF4-FFF2-40B4-BE49-F238E27FC236}">
                    <a16:creationId xmlns:a16="http://schemas.microsoft.com/office/drawing/2014/main" id="{370F6496-0287-A343-A16A-8108D47445C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11932" y="3738534"/>
                <a:ext cx="73705" cy="75724"/>
              </a:xfrm>
              <a:custGeom>
                <a:avLst/>
                <a:gdLst>
                  <a:gd name="T0" fmla="*/ 331 w 661"/>
                  <a:gd name="T1" fmla="*/ 0 h 670"/>
                  <a:gd name="T2" fmla="*/ 376 w 661"/>
                  <a:gd name="T3" fmla="*/ 2 h 670"/>
                  <a:gd name="T4" fmla="*/ 419 w 661"/>
                  <a:gd name="T5" fmla="*/ 12 h 670"/>
                  <a:gd name="T6" fmla="*/ 460 w 661"/>
                  <a:gd name="T7" fmla="*/ 26 h 670"/>
                  <a:gd name="T8" fmla="*/ 498 w 661"/>
                  <a:gd name="T9" fmla="*/ 45 h 670"/>
                  <a:gd name="T10" fmla="*/ 533 w 661"/>
                  <a:gd name="T11" fmla="*/ 69 h 670"/>
                  <a:gd name="T12" fmla="*/ 565 w 661"/>
                  <a:gd name="T13" fmla="*/ 97 h 670"/>
                  <a:gd name="T14" fmla="*/ 593 w 661"/>
                  <a:gd name="T15" fmla="*/ 130 h 670"/>
                  <a:gd name="T16" fmla="*/ 617 w 661"/>
                  <a:gd name="T17" fmla="*/ 165 h 670"/>
                  <a:gd name="T18" fmla="*/ 635 w 661"/>
                  <a:gd name="T19" fmla="*/ 204 h 670"/>
                  <a:gd name="T20" fmla="*/ 650 w 661"/>
                  <a:gd name="T21" fmla="*/ 245 h 670"/>
                  <a:gd name="T22" fmla="*/ 659 w 661"/>
                  <a:gd name="T23" fmla="*/ 289 h 670"/>
                  <a:gd name="T24" fmla="*/ 661 w 661"/>
                  <a:gd name="T25" fmla="*/ 335 h 670"/>
                  <a:gd name="T26" fmla="*/ 659 w 661"/>
                  <a:gd name="T27" fmla="*/ 380 h 670"/>
                  <a:gd name="T28" fmla="*/ 650 w 661"/>
                  <a:gd name="T29" fmla="*/ 424 h 670"/>
                  <a:gd name="T30" fmla="*/ 635 w 661"/>
                  <a:gd name="T31" fmla="*/ 466 h 670"/>
                  <a:gd name="T32" fmla="*/ 617 w 661"/>
                  <a:gd name="T33" fmla="*/ 504 h 670"/>
                  <a:gd name="T34" fmla="*/ 593 w 661"/>
                  <a:gd name="T35" fmla="*/ 539 h 670"/>
                  <a:gd name="T36" fmla="*/ 565 w 661"/>
                  <a:gd name="T37" fmla="*/ 572 h 670"/>
                  <a:gd name="T38" fmla="*/ 533 w 661"/>
                  <a:gd name="T39" fmla="*/ 601 h 670"/>
                  <a:gd name="T40" fmla="*/ 498 w 661"/>
                  <a:gd name="T41" fmla="*/ 625 h 670"/>
                  <a:gd name="T42" fmla="*/ 460 w 661"/>
                  <a:gd name="T43" fmla="*/ 643 h 670"/>
                  <a:gd name="T44" fmla="*/ 419 w 661"/>
                  <a:gd name="T45" fmla="*/ 658 h 670"/>
                  <a:gd name="T46" fmla="*/ 376 w 661"/>
                  <a:gd name="T47" fmla="*/ 667 h 670"/>
                  <a:gd name="T48" fmla="*/ 331 w 661"/>
                  <a:gd name="T49" fmla="*/ 670 h 670"/>
                  <a:gd name="T50" fmla="*/ 286 w 661"/>
                  <a:gd name="T51" fmla="*/ 667 h 670"/>
                  <a:gd name="T52" fmla="*/ 242 w 661"/>
                  <a:gd name="T53" fmla="*/ 658 h 670"/>
                  <a:gd name="T54" fmla="*/ 201 w 661"/>
                  <a:gd name="T55" fmla="*/ 643 h 670"/>
                  <a:gd name="T56" fmla="*/ 163 w 661"/>
                  <a:gd name="T57" fmla="*/ 625 h 670"/>
                  <a:gd name="T58" fmla="*/ 128 w 661"/>
                  <a:gd name="T59" fmla="*/ 601 h 670"/>
                  <a:gd name="T60" fmla="*/ 96 w 661"/>
                  <a:gd name="T61" fmla="*/ 572 h 670"/>
                  <a:gd name="T62" fmla="*/ 68 w 661"/>
                  <a:gd name="T63" fmla="*/ 539 h 670"/>
                  <a:gd name="T64" fmla="*/ 44 w 661"/>
                  <a:gd name="T65" fmla="*/ 504 h 670"/>
                  <a:gd name="T66" fmla="*/ 26 w 661"/>
                  <a:gd name="T67" fmla="*/ 466 h 670"/>
                  <a:gd name="T68" fmla="*/ 11 w 661"/>
                  <a:gd name="T69" fmla="*/ 424 h 670"/>
                  <a:gd name="T70" fmla="*/ 2 w 661"/>
                  <a:gd name="T71" fmla="*/ 380 h 670"/>
                  <a:gd name="T72" fmla="*/ 0 w 661"/>
                  <a:gd name="T73" fmla="*/ 335 h 670"/>
                  <a:gd name="T74" fmla="*/ 2 w 661"/>
                  <a:gd name="T75" fmla="*/ 289 h 670"/>
                  <a:gd name="T76" fmla="*/ 11 w 661"/>
                  <a:gd name="T77" fmla="*/ 245 h 670"/>
                  <a:gd name="T78" fmla="*/ 26 w 661"/>
                  <a:gd name="T79" fmla="*/ 204 h 670"/>
                  <a:gd name="T80" fmla="*/ 44 w 661"/>
                  <a:gd name="T81" fmla="*/ 165 h 670"/>
                  <a:gd name="T82" fmla="*/ 68 w 661"/>
                  <a:gd name="T83" fmla="*/ 130 h 670"/>
                  <a:gd name="T84" fmla="*/ 96 w 661"/>
                  <a:gd name="T85" fmla="*/ 97 h 670"/>
                  <a:gd name="T86" fmla="*/ 128 w 661"/>
                  <a:gd name="T87" fmla="*/ 69 h 670"/>
                  <a:gd name="T88" fmla="*/ 163 w 661"/>
                  <a:gd name="T89" fmla="*/ 45 h 670"/>
                  <a:gd name="T90" fmla="*/ 201 w 661"/>
                  <a:gd name="T91" fmla="*/ 26 h 670"/>
                  <a:gd name="T92" fmla="*/ 242 w 661"/>
                  <a:gd name="T93" fmla="*/ 12 h 670"/>
                  <a:gd name="T94" fmla="*/ 286 w 661"/>
                  <a:gd name="T95" fmla="*/ 2 h 670"/>
                  <a:gd name="T96" fmla="*/ 331 w 661"/>
                  <a:gd name="T97" fmla="*/ 0 h 6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661" h="670">
                    <a:moveTo>
                      <a:pt x="331" y="0"/>
                    </a:moveTo>
                    <a:lnTo>
                      <a:pt x="376" y="2"/>
                    </a:lnTo>
                    <a:lnTo>
                      <a:pt x="419" y="12"/>
                    </a:lnTo>
                    <a:lnTo>
                      <a:pt x="460" y="26"/>
                    </a:lnTo>
                    <a:lnTo>
                      <a:pt x="498" y="45"/>
                    </a:lnTo>
                    <a:lnTo>
                      <a:pt x="533" y="69"/>
                    </a:lnTo>
                    <a:lnTo>
                      <a:pt x="565" y="97"/>
                    </a:lnTo>
                    <a:lnTo>
                      <a:pt x="593" y="130"/>
                    </a:lnTo>
                    <a:lnTo>
                      <a:pt x="617" y="165"/>
                    </a:lnTo>
                    <a:lnTo>
                      <a:pt x="635" y="204"/>
                    </a:lnTo>
                    <a:lnTo>
                      <a:pt x="650" y="245"/>
                    </a:lnTo>
                    <a:lnTo>
                      <a:pt x="659" y="289"/>
                    </a:lnTo>
                    <a:lnTo>
                      <a:pt x="661" y="335"/>
                    </a:lnTo>
                    <a:lnTo>
                      <a:pt x="659" y="380"/>
                    </a:lnTo>
                    <a:lnTo>
                      <a:pt x="650" y="424"/>
                    </a:lnTo>
                    <a:lnTo>
                      <a:pt x="635" y="466"/>
                    </a:lnTo>
                    <a:lnTo>
                      <a:pt x="617" y="504"/>
                    </a:lnTo>
                    <a:lnTo>
                      <a:pt x="593" y="539"/>
                    </a:lnTo>
                    <a:lnTo>
                      <a:pt x="565" y="572"/>
                    </a:lnTo>
                    <a:lnTo>
                      <a:pt x="533" y="601"/>
                    </a:lnTo>
                    <a:lnTo>
                      <a:pt x="498" y="625"/>
                    </a:lnTo>
                    <a:lnTo>
                      <a:pt x="460" y="643"/>
                    </a:lnTo>
                    <a:lnTo>
                      <a:pt x="419" y="658"/>
                    </a:lnTo>
                    <a:lnTo>
                      <a:pt x="376" y="667"/>
                    </a:lnTo>
                    <a:lnTo>
                      <a:pt x="331" y="670"/>
                    </a:lnTo>
                    <a:lnTo>
                      <a:pt x="286" y="667"/>
                    </a:lnTo>
                    <a:lnTo>
                      <a:pt x="242" y="658"/>
                    </a:lnTo>
                    <a:lnTo>
                      <a:pt x="201" y="643"/>
                    </a:lnTo>
                    <a:lnTo>
                      <a:pt x="163" y="625"/>
                    </a:lnTo>
                    <a:lnTo>
                      <a:pt x="128" y="601"/>
                    </a:lnTo>
                    <a:lnTo>
                      <a:pt x="96" y="572"/>
                    </a:lnTo>
                    <a:lnTo>
                      <a:pt x="68" y="539"/>
                    </a:lnTo>
                    <a:lnTo>
                      <a:pt x="44" y="504"/>
                    </a:lnTo>
                    <a:lnTo>
                      <a:pt x="26" y="466"/>
                    </a:lnTo>
                    <a:lnTo>
                      <a:pt x="11" y="424"/>
                    </a:lnTo>
                    <a:lnTo>
                      <a:pt x="2" y="380"/>
                    </a:lnTo>
                    <a:lnTo>
                      <a:pt x="0" y="335"/>
                    </a:lnTo>
                    <a:lnTo>
                      <a:pt x="2" y="289"/>
                    </a:lnTo>
                    <a:lnTo>
                      <a:pt x="11" y="245"/>
                    </a:lnTo>
                    <a:lnTo>
                      <a:pt x="26" y="204"/>
                    </a:lnTo>
                    <a:lnTo>
                      <a:pt x="44" y="165"/>
                    </a:lnTo>
                    <a:lnTo>
                      <a:pt x="68" y="130"/>
                    </a:lnTo>
                    <a:lnTo>
                      <a:pt x="96" y="97"/>
                    </a:lnTo>
                    <a:lnTo>
                      <a:pt x="128" y="69"/>
                    </a:lnTo>
                    <a:lnTo>
                      <a:pt x="163" y="45"/>
                    </a:lnTo>
                    <a:lnTo>
                      <a:pt x="201" y="26"/>
                    </a:lnTo>
                    <a:lnTo>
                      <a:pt x="242" y="12"/>
                    </a:lnTo>
                    <a:lnTo>
                      <a:pt x="286" y="2"/>
                    </a:lnTo>
                    <a:lnTo>
                      <a:pt x="331" y="0"/>
                    </a:lnTo>
                    <a:close/>
                  </a:path>
                </a:pathLst>
              </a:custGeom>
              <a:solidFill>
                <a:srgbClr val="0070C0"/>
              </a:solidFill>
              <a:ln w="0">
                <a:solidFill>
                  <a:srgbClr val="0070C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1" dirty="0"/>
              </a:p>
            </p:txBody>
          </p:sp>
          <p:sp>
            <p:nvSpPr>
              <p:cNvPr id="67" name="Freeform 244">
                <a:extLst>
                  <a:ext uri="{FF2B5EF4-FFF2-40B4-BE49-F238E27FC236}">
                    <a16:creationId xmlns:a16="http://schemas.microsoft.com/office/drawing/2014/main" id="{BAA8FB30-95B0-A94B-8382-C8DB7DD96C0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88710" y="3817287"/>
                <a:ext cx="266549" cy="311985"/>
              </a:xfrm>
              <a:custGeom>
                <a:avLst/>
                <a:gdLst>
                  <a:gd name="T0" fmla="*/ 447 w 2377"/>
                  <a:gd name="T1" fmla="*/ 6 h 2779"/>
                  <a:gd name="T2" fmla="*/ 538 w 2377"/>
                  <a:gd name="T3" fmla="*/ 36 h 2779"/>
                  <a:gd name="T4" fmla="*/ 617 w 2377"/>
                  <a:gd name="T5" fmla="*/ 91 h 2779"/>
                  <a:gd name="T6" fmla="*/ 677 w 2377"/>
                  <a:gd name="T7" fmla="*/ 168 h 2779"/>
                  <a:gd name="T8" fmla="*/ 746 w 2377"/>
                  <a:gd name="T9" fmla="*/ 281 h 2779"/>
                  <a:gd name="T10" fmla="*/ 916 w 2377"/>
                  <a:gd name="T11" fmla="*/ 529 h 2779"/>
                  <a:gd name="T12" fmla="*/ 1115 w 2377"/>
                  <a:gd name="T13" fmla="*/ 750 h 2779"/>
                  <a:gd name="T14" fmla="*/ 1332 w 2377"/>
                  <a:gd name="T15" fmla="*/ 679 h 2779"/>
                  <a:gd name="T16" fmla="*/ 1521 w 2377"/>
                  <a:gd name="T17" fmla="*/ 449 h 2779"/>
                  <a:gd name="T18" fmla="*/ 1683 w 2377"/>
                  <a:gd name="T19" fmla="*/ 195 h 2779"/>
                  <a:gd name="T20" fmla="*/ 1735 w 2377"/>
                  <a:gd name="T21" fmla="*/ 117 h 2779"/>
                  <a:gd name="T22" fmla="*/ 1808 w 2377"/>
                  <a:gd name="T23" fmla="*/ 53 h 2779"/>
                  <a:gd name="T24" fmla="*/ 1896 w 2377"/>
                  <a:gd name="T25" fmla="*/ 14 h 2779"/>
                  <a:gd name="T26" fmla="*/ 1990 w 2377"/>
                  <a:gd name="T27" fmla="*/ 0 h 2779"/>
                  <a:gd name="T28" fmla="*/ 2080 w 2377"/>
                  <a:gd name="T29" fmla="*/ 16 h 2779"/>
                  <a:gd name="T30" fmla="*/ 2158 w 2377"/>
                  <a:gd name="T31" fmla="*/ 63 h 2779"/>
                  <a:gd name="T32" fmla="*/ 2217 w 2377"/>
                  <a:gd name="T33" fmla="*/ 144 h 2779"/>
                  <a:gd name="T34" fmla="*/ 2275 w 2377"/>
                  <a:gd name="T35" fmla="*/ 408 h 2779"/>
                  <a:gd name="T36" fmla="*/ 2351 w 2377"/>
                  <a:gd name="T37" fmla="*/ 985 h 2779"/>
                  <a:gd name="T38" fmla="*/ 2376 w 2377"/>
                  <a:gd name="T39" fmla="*/ 1413 h 2779"/>
                  <a:gd name="T40" fmla="*/ 2349 w 2377"/>
                  <a:gd name="T41" fmla="*/ 1515 h 2779"/>
                  <a:gd name="T42" fmla="*/ 2337 w 2377"/>
                  <a:gd name="T43" fmla="*/ 1584 h 2779"/>
                  <a:gd name="T44" fmla="*/ 2327 w 2377"/>
                  <a:gd name="T45" fmla="*/ 2669 h 2779"/>
                  <a:gd name="T46" fmla="*/ 2282 w 2377"/>
                  <a:gd name="T47" fmla="*/ 2736 h 2779"/>
                  <a:gd name="T48" fmla="*/ 2213 w 2377"/>
                  <a:gd name="T49" fmla="*/ 2772 h 2779"/>
                  <a:gd name="T50" fmla="*/ 2137 w 2377"/>
                  <a:gd name="T51" fmla="*/ 2776 h 2779"/>
                  <a:gd name="T52" fmla="*/ 2063 w 2377"/>
                  <a:gd name="T53" fmla="*/ 2751 h 2779"/>
                  <a:gd name="T54" fmla="*/ 2009 w 2377"/>
                  <a:gd name="T55" fmla="*/ 2695 h 2779"/>
                  <a:gd name="T56" fmla="*/ 1988 w 2377"/>
                  <a:gd name="T57" fmla="*/ 2608 h 2779"/>
                  <a:gd name="T58" fmla="*/ 1926 w 2377"/>
                  <a:gd name="T59" fmla="*/ 1612 h 2779"/>
                  <a:gd name="T60" fmla="*/ 1850 w 2377"/>
                  <a:gd name="T61" fmla="*/ 1545 h 2779"/>
                  <a:gd name="T62" fmla="*/ 1801 w 2377"/>
                  <a:gd name="T63" fmla="*/ 1449 h 2779"/>
                  <a:gd name="T64" fmla="*/ 1776 w 2377"/>
                  <a:gd name="T65" fmla="*/ 1159 h 2779"/>
                  <a:gd name="T66" fmla="*/ 1663 w 2377"/>
                  <a:gd name="T67" fmla="*/ 829 h 2779"/>
                  <a:gd name="T68" fmla="*/ 1436 w 2377"/>
                  <a:gd name="T69" fmla="*/ 1063 h 2779"/>
                  <a:gd name="T70" fmla="*/ 1325 w 2377"/>
                  <a:gd name="T71" fmla="*/ 1185 h 2779"/>
                  <a:gd name="T72" fmla="*/ 1265 w 2377"/>
                  <a:gd name="T73" fmla="*/ 1235 h 2779"/>
                  <a:gd name="T74" fmla="*/ 1189 w 2377"/>
                  <a:gd name="T75" fmla="*/ 1245 h 2779"/>
                  <a:gd name="T76" fmla="*/ 1112 w 2377"/>
                  <a:gd name="T77" fmla="*/ 1235 h 2779"/>
                  <a:gd name="T78" fmla="*/ 1051 w 2377"/>
                  <a:gd name="T79" fmla="*/ 1185 h 2779"/>
                  <a:gd name="T80" fmla="*/ 942 w 2377"/>
                  <a:gd name="T81" fmla="*/ 1063 h 2779"/>
                  <a:gd name="T82" fmla="*/ 714 w 2377"/>
                  <a:gd name="T83" fmla="*/ 829 h 2779"/>
                  <a:gd name="T84" fmla="*/ 601 w 2377"/>
                  <a:gd name="T85" fmla="*/ 1163 h 2779"/>
                  <a:gd name="T86" fmla="*/ 577 w 2377"/>
                  <a:gd name="T87" fmla="*/ 1452 h 2779"/>
                  <a:gd name="T88" fmla="*/ 527 w 2377"/>
                  <a:gd name="T89" fmla="*/ 1549 h 2779"/>
                  <a:gd name="T90" fmla="*/ 450 w 2377"/>
                  <a:gd name="T91" fmla="*/ 1614 h 2779"/>
                  <a:gd name="T92" fmla="*/ 390 w 2377"/>
                  <a:gd name="T93" fmla="*/ 2608 h 2779"/>
                  <a:gd name="T94" fmla="*/ 368 w 2377"/>
                  <a:gd name="T95" fmla="*/ 2695 h 2779"/>
                  <a:gd name="T96" fmla="*/ 314 w 2377"/>
                  <a:gd name="T97" fmla="*/ 2751 h 2779"/>
                  <a:gd name="T98" fmla="*/ 241 w 2377"/>
                  <a:gd name="T99" fmla="*/ 2776 h 2779"/>
                  <a:gd name="T100" fmla="*/ 164 w 2377"/>
                  <a:gd name="T101" fmla="*/ 2772 h 2779"/>
                  <a:gd name="T102" fmla="*/ 95 w 2377"/>
                  <a:gd name="T103" fmla="*/ 2736 h 2779"/>
                  <a:gd name="T104" fmla="*/ 51 w 2377"/>
                  <a:gd name="T105" fmla="*/ 2669 h 2779"/>
                  <a:gd name="T106" fmla="*/ 41 w 2377"/>
                  <a:gd name="T107" fmla="*/ 1584 h 2779"/>
                  <a:gd name="T108" fmla="*/ 29 w 2377"/>
                  <a:gd name="T109" fmla="*/ 1512 h 2779"/>
                  <a:gd name="T110" fmla="*/ 1 w 2377"/>
                  <a:gd name="T111" fmla="*/ 1408 h 2779"/>
                  <a:gd name="T112" fmla="*/ 26 w 2377"/>
                  <a:gd name="T113" fmla="*/ 982 h 2779"/>
                  <a:gd name="T114" fmla="*/ 103 w 2377"/>
                  <a:gd name="T115" fmla="*/ 406 h 2779"/>
                  <a:gd name="T116" fmla="*/ 160 w 2377"/>
                  <a:gd name="T117" fmla="*/ 143 h 2779"/>
                  <a:gd name="T118" fmla="*/ 218 w 2377"/>
                  <a:gd name="T119" fmla="*/ 63 h 2779"/>
                  <a:gd name="T120" fmla="*/ 296 w 2377"/>
                  <a:gd name="T121" fmla="*/ 16 h 2779"/>
                  <a:gd name="T122" fmla="*/ 386 w 2377"/>
                  <a:gd name="T123" fmla="*/ 0 h 27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2377" h="2779">
                    <a:moveTo>
                      <a:pt x="386" y="0"/>
                    </a:moveTo>
                    <a:lnTo>
                      <a:pt x="417" y="2"/>
                    </a:lnTo>
                    <a:lnTo>
                      <a:pt x="447" y="6"/>
                    </a:lnTo>
                    <a:lnTo>
                      <a:pt x="479" y="13"/>
                    </a:lnTo>
                    <a:lnTo>
                      <a:pt x="509" y="22"/>
                    </a:lnTo>
                    <a:lnTo>
                      <a:pt x="538" y="36"/>
                    </a:lnTo>
                    <a:lnTo>
                      <a:pt x="566" y="52"/>
                    </a:lnTo>
                    <a:lnTo>
                      <a:pt x="592" y="70"/>
                    </a:lnTo>
                    <a:lnTo>
                      <a:pt x="617" y="91"/>
                    </a:lnTo>
                    <a:lnTo>
                      <a:pt x="640" y="114"/>
                    </a:lnTo>
                    <a:lnTo>
                      <a:pt x="659" y="140"/>
                    </a:lnTo>
                    <a:lnTo>
                      <a:pt x="677" y="168"/>
                    </a:lnTo>
                    <a:lnTo>
                      <a:pt x="687" y="180"/>
                    </a:lnTo>
                    <a:lnTo>
                      <a:pt x="694" y="195"/>
                    </a:lnTo>
                    <a:lnTo>
                      <a:pt x="746" y="281"/>
                    </a:lnTo>
                    <a:lnTo>
                      <a:pt x="799" y="367"/>
                    </a:lnTo>
                    <a:lnTo>
                      <a:pt x="857" y="449"/>
                    </a:lnTo>
                    <a:lnTo>
                      <a:pt x="916" y="529"/>
                    </a:lnTo>
                    <a:lnTo>
                      <a:pt x="979" y="606"/>
                    </a:lnTo>
                    <a:lnTo>
                      <a:pt x="1046" y="679"/>
                    </a:lnTo>
                    <a:lnTo>
                      <a:pt x="1115" y="750"/>
                    </a:lnTo>
                    <a:lnTo>
                      <a:pt x="1189" y="818"/>
                    </a:lnTo>
                    <a:lnTo>
                      <a:pt x="1262" y="750"/>
                    </a:lnTo>
                    <a:lnTo>
                      <a:pt x="1332" y="679"/>
                    </a:lnTo>
                    <a:lnTo>
                      <a:pt x="1398" y="606"/>
                    </a:lnTo>
                    <a:lnTo>
                      <a:pt x="1461" y="529"/>
                    </a:lnTo>
                    <a:lnTo>
                      <a:pt x="1521" y="449"/>
                    </a:lnTo>
                    <a:lnTo>
                      <a:pt x="1578" y="367"/>
                    </a:lnTo>
                    <a:lnTo>
                      <a:pt x="1632" y="281"/>
                    </a:lnTo>
                    <a:lnTo>
                      <a:pt x="1683" y="195"/>
                    </a:lnTo>
                    <a:lnTo>
                      <a:pt x="1698" y="170"/>
                    </a:lnTo>
                    <a:lnTo>
                      <a:pt x="1715" y="143"/>
                    </a:lnTo>
                    <a:lnTo>
                      <a:pt x="1735" y="117"/>
                    </a:lnTo>
                    <a:lnTo>
                      <a:pt x="1758" y="93"/>
                    </a:lnTo>
                    <a:lnTo>
                      <a:pt x="1782" y="72"/>
                    </a:lnTo>
                    <a:lnTo>
                      <a:pt x="1808" y="53"/>
                    </a:lnTo>
                    <a:lnTo>
                      <a:pt x="1837" y="37"/>
                    </a:lnTo>
                    <a:lnTo>
                      <a:pt x="1866" y="23"/>
                    </a:lnTo>
                    <a:lnTo>
                      <a:pt x="1896" y="14"/>
                    </a:lnTo>
                    <a:lnTo>
                      <a:pt x="1928" y="6"/>
                    </a:lnTo>
                    <a:lnTo>
                      <a:pt x="1959" y="2"/>
                    </a:lnTo>
                    <a:lnTo>
                      <a:pt x="1990" y="0"/>
                    </a:lnTo>
                    <a:lnTo>
                      <a:pt x="2021" y="3"/>
                    </a:lnTo>
                    <a:lnTo>
                      <a:pt x="2051" y="7"/>
                    </a:lnTo>
                    <a:lnTo>
                      <a:pt x="2080" y="16"/>
                    </a:lnTo>
                    <a:lnTo>
                      <a:pt x="2108" y="28"/>
                    </a:lnTo>
                    <a:lnTo>
                      <a:pt x="2134" y="44"/>
                    </a:lnTo>
                    <a:lnTo>
                      <a:pt x="2158" y="63"/>
                    </a:lnTo>
                    <a:lnTo>
                      <a:pt x="2181" y="86"/>
                    </a:lnTo>
                    <a:lnTo>
                      <a:pt x="2200" y="113"/>
                    </a:lnTo>
                    <a:lnTo>
                      <a:pt x="2217" y="144"/>
                    </a:lnTo>
                    <a:lnTo>
                      <a:pt x="2230" y="178"/>
                    </a:lnTo>
                    <a:lnTo>
                      <a:pt x="2239" y="218"/>
                    </a:lnTo>
                    <a:lnTo>
                      <a:pt x="2275" y="408"/>
                    </a:lnTo>
                    <a:lnTo>
                      <a:pt x="2305" y="600"/>
                    </a:lnTo>
                    <a:lnTo>
                      <a:pt x="2330" y="792"/>
                    </a:lnTo>
                    <a:lnTo>
                      <a:pt x="2351" y="985"/>
                    </a:lnTo>
                    <a:lnTo>
                      <a:pt x="2367" y="1178"/>
                    </a:lnTo>
                    <a:lnTo>
                      <a:pt x="2377" y="1372"/>
                    </a:lnTo>
                    <a:lnTo>
                      <a:pt x="2376" y="1413"/>
                    </a:lnTo>
                    <a:lnTo>
                      <a:pt x="2372" y="1450"/>
                    </a:lnTo>
                    <a:lnTo>
                      <a:pt x="2362" y="1484"/>
                    </a:lnTo>
                    <a:lnTo>
                      <a:pt x="2349" y="1515"/>
                    </a:lnTo>
                    <a:lnTo>
                      <a:pt x="2333" y="1543"/>
                    </a:lnTo>
                    <a:lnTo>
                      <a:pt x="2336" y="1563"/>
                    </a:lnTo>
                    <a:lnTo>
                      <a:pt x="2337" y="1584"/>
                    </a:lnTo>
                    <a:lnTo>
                      <a:pt x="2337" y="2608"/>
                    </a:lnTo>
                    <a:lnTo>
                      <a:pt x="2334" y="2640"/>
                    </a:lnTo>
                    <a:lnTo>
                      <a:pt x="2327" y="2669"/>
                    </a:lnTo>
                    <a:lnTo>
                      <a:pt x="2315" y="2695"/>
                    </a:lnTo>
                    <a:lnTo>
                      <a:pt x="2300" y="2717"/>
                    </a:lnTo>
                    <a:lnTo>
                      <a:pt x="2282" y="2736"/>
                    </a:lnTo>
                    <a:lnTo>
                      <a:pt x="2261" y="2751"/>
                    </a:lnTo>
                    <a:lnTo>
                      <a:pt x="2238" y="2763"/>
                    </a:lnTo>
                    <a:lnTo>
                      <a:pt x="2213" y="2772"/>
                    </a:lnTo>
                    <a:lnTo>
                      <a:pt x="2189" y="2776"/>
                    </a:lnTo>
                    <a:lnTo>
                      <a:pt x="2163" y="2779"/>
                    </a:lnTo>
                    <a:lnTo>
                      <a:pt x="2137" y="2776"/>
                    </a:lnTo>
                    <a:lnTo>
                      <a:pt x="2111" y="2772"/>
                    </a:lnTo>
                    <a:lnTo>
                      <a:pt x="2086" y="2763"/>
                    </a:lnTo>
                    <a:lnTo>
                      <a:pt x="2063" y="2751"/>
                    </a:lnTo>
                    <a:lnTo>
                      <a:pt x="2042" y="2736"/>
                    </a:lnTo>
                    <a:lnTo>
                      <a:pt x="2024" y="2717"/>
                    </a:lnTo>
                    <a:lnTo>
                      <a:pt x="2009" y="2695"/>
                    </a:lnTo>
                    <a:lnTo>
                      <a:pt x="1998" y="2669"/>
                    </a:lnTo>
                    <a:lnTo>
                      <a:pt x="1990" y="2640"/>
                    </a:lnTo>
                    <a:lnTo>
                      <a:pt x="1988" y="2608"/>
                    </a:lnTo>
                    <a:lnTo>
                      <a:pt x="1988" y="1641"/>
                    </a:lnTo>
                    <a:lnTo>
                      <a:pt x="1957" y="1627"/>
                    </a:lnTo>
                    <a:lnTo>
                      <a:pt x="1926" y="1612"/>
                    </a:lnTo>
                    <a:lnTo>
                      <a:pt x="1898" y="1592"/>
                    </a:lnTo>
                    <a:lnTo>
                      <a:pt x="1873" y="1570"/>
                    </a:lnTo>
                    <a:lnTo>
                      <a:pt x="1850" y="1545"/>
                    </a:lnTo>
                    <a:lnTo>
                      <a:pt x="1830" y="1516"/>
                    </a:lnTo>
                    <a:lnTo>
                      <a:pt x="1814" y="1484"/>
                    </a:lnTo>
                    <a:lnTo>
                      <a:pt x="1801" y="1449"/>
                    </a:lnTo>
                    <a:lnTo>
                      <a:pt x="1792" y="1410"/>
                    </a:lnTo>
                    <a:lnTo>
                      <a:pt x="1788" y="1368"/>
                    </a:lnTo>
                    <a:lnTo>
                      <a:pt x="1776" y="1159"/>
                    </a:lnTo>
                    <a:lnTo>
                      <a:pt x="1758" y="952"/>
                    </a:lnTo>
                    <a:lnTo>
                      <a:pt x="1733" y="746"/>
                    </a:lnTo>
                    <a:lnTo>
                      <a:pt x="1663" y="829"/>
                    </a:lnTo>
                    <a:lnTo>
                      <a:pt x="1591" y="910"/>
                    </a:lnTo>
                    <a:lnTo>
                      <a:pt x="1515" y="988"/>
                    </a:lnTo>
                    <a:lnTo>
                      <a:pt x="1436" y="1063"/>
                    </a:lnTo>
                    <a:lnTo>
                      <a:pt x="1353" y="1136"/>
                    </a:lnTo>
                    <a:lnTo>
                      <a:pt x="1341" y="1162"/>
                    </a:lnTo>
                    <a:lnTo>
                      <a:pt x="1325" y="1185"/>
                    </a:lnTo>
                    <a:lnTo>
                      <a:pt x="1308" y="1205"/>
                    </a:lnTo>
                    <a:lnTo>
                      <a:pt x="1288" y="1222"/>
                    </a:lnTo>
                    <a:lnTo>
                      <a:pt x="1265" y="1235"/>
                    </a:lnTo>
                    <a:lnTo>
                      <a:pt x="1241" y="1244"/>
                    </a:lnTo>
                    <a:lnTo>
                      <a:pt x="1215" y="1247"/>
                    </a:lnTo>
                    <a:lnTo>
                      <a:pt x="1189" y="1245"/>
                    </a:lnTo>
                    <a:lnTo>
                      <a:pt x="1162" y="1247"/>
                    </a:lnTo>
                    <a:lnTo>
                      <a:pt x="1136" y="1244"/>
                    </a:lnTo>
                    <a:lnTo>
                      <a:pt x="1112" y="1235"/>
                    </a:lnTo>
                    <a:lnTo>
                      <a:pt x="1089" y="1222"/>
                    </a:lnTo>
                    <a:lnTo>
                      <a:pt x="1070" y="1205"/>
                    </a:lnTo>
                    <a:lnTo>
                      <a:pt x="1051" y="1185"/>
                    </a:lnTo>
                    <a:lnTo>
                      <a:pt x="1036" y="1162"/>
                    </a:lnTo>
                    <a:lnTo>
                      <a:pt x="1024" y="1136"/>
                    </a:lnTo>
                    <a:lnTo>
                      <a:pt x="942" y="1063"/>
                    </a:lnTo>
                    <a:lnTo>
                      <a:pt x="862" y="988"/>
                    </a:lnTo>
                    <a:lnTo>
                      <a:pt x="786" y="910"/>
                    </a:lnTo>
                    <a:lnTo>
                      <a:pt x="714" y="829"/>
                    </a:lnTo>
                    <a:lnTo>
                      <a:pt x="644" y="746"/>
                    </a:lnTo>
                    <a:lnTo>
                      <a:pt x="619" y="953"/>
                    </a:lnTo>
                    <a:lnTo>
                      <a:pt x="601" y="1163"/>
                    </a:lnTo>
                    <a:lnTo>
                      <a:pt x="589" y="1372"/>
                    </a:lnTo>
                    <a:lnTo>
                      <a:pt x="586" y="1414"/>
                    </a:lnTo>
                    <a:lnTo>
                      <a:pt x="577" y="1452"/>
                    </a:lnTo>
                    <a:lnTo>
                      <a:pt x="564" y="1488"/>
                    </a:lnTo>
                    <a:lnTo>
                      <a:pt x="547" y="1520"/>
                    </a:lnTo>
                    <a:lnTo>
                      <a:pt x="527" y="1549"/>
                    </a:lnTo>
                    <a:lnTo>
                      <a:pt x="505" y="1574"/>
                    </a:lnTo>
                    <a:lnTo>
                      <a:pt x="479" y="1596"/>
                    </a:lnTo>
                    <a:lnTo>
                      <a:pt x="450" y="1614"/>
                    </a:lnTo>
                    <a:lnTo>
                      <a:pt x="421" y="1630"/>
                    </a:lnTo>
                    <a:lnTo>
                      <a:pt x="390" y="1642"/>
                    </a:lnTo>
                    <a:lnTo>
                      <a:pt x="390" y="2608"/>
                    </a:lnTo>
                    <a:lnTo>
                      <a:pt x="387" y="2640"/>
                    </a:lnTo>
                    <a:lnTo>
                      <a:pt x="380" y="2669"/>
                    </a:lnTo>
                    <a:lnTo>
                      <a:pt x="368" y="2695"/>
                    </a:lnTo>
                    <a:lnTo>
                      <a:pt x="353" y="2717"/>
                    </a:lnTo>
                    <a:lnTo>
                      <a:pt x="335" y="2736"/>
                    </a:lnTo>
                    <a:lnTo>
                      <a:pt x="314" y="2751"/>
                    </a:lnTo>
                    <a:lnTo>
                      <a:pt x="291" y="2763"/>
                    </a:lnTo>
                    <a:lnTo>
                      <a:pt x="266" y="2772"/>
                    </a:lnTo>
                    <a:lnTo>
                      <a:pt x="241" y="2776"/>
                    </a:lnTo>
                    <a:lnTo>
                      <a:pt x="215" y="2779"/>
                    </a:lnTo>
                    <a:lnTo>
                      <a:pt x="190" y="2776"/>
                    </a:lnTo>
                    <a:lnTo>
                      <a:pt x="164" y="2772"/>
                    </a:lnTo>
                    <a:lnTo>
                      <a:pt x="139" y="2763"/>
                    </a:lnTo>
                    <a:lnTo>
                      <a:pt x="116" y="2751"/>
                    </a:lnTo>
                    <a:lnTo>
                      <a:pt x="95" y="2736"/>
                    </a:lnTo>
                    <a:lnTo>
                      <a:pt x="77" y="2717"/>
                    </a:lnTo>
                    <a:lnTo>
                      <a:pt x="62" y="2695"/>
                    </a:lnTo>
                    <a:lnTo>
                      <a:pt x="51" y="2669"/>
                    </a:lnTo>
                    <a:lnTo>
                      <a:pt x="43" y="2640"/>
                    </a:lnTo>
                    <a:lnTo>
                      <a:pt x="41" y="2608"/>
                    </a:lnTo>
                    <a:lnTo>
                      <a:pt x="41" y="1584"/>
                    </a:lnTo>
                    <a:lnTo>
                      <a:pt x="42" y="1562"/>
                    </a:lnTo>
                    <a:lnTo>
                      <a:pt x="45" y="1541"/>
                    </a:lnTo>
                    <a:lnTo>
                      <a:pt x="29" y="1512"/>
                    </a:lnTo>
                    <a:lnTo>
                      <a:pt x="16" y="1481"/>
                    </a:lnTo>
                    <a:lnTo>
                      <a:pt x="6" y="1447"/>
                    </a:lnTo>
                    <a:lnTo>
                      <a:pt x="1" y="1408"/>
                    </a:lnTo>
                    <a:lnTo>
                      <a:pt x="0" y="1368"/>
                    </a:lnTo>
                    <a:lnTo>
                      <a:pt x="11" y="1175"/>
                    </a:lnTo>
                    <a:lnTo>
                      <a:pt x="26" y="982"/>
                    </a:lnTo>
                    <a:lnTo>
                      <a:pt x="47" y="789"/>
                    </a:lnTo>
                    <a:lnTo>
                      <a:pt x="73" y="597"/>
                    </a:lnTo>
                    <a:lnTo>
                      <a:pt x="103" y="406"/>
                    </a:lnTo>
                    <a:lnTo>
                      <a:pt x="138" y="215"/>
                    </a:lnTo>
                    <a:lnTo>
                      <a:pt x="147" y="177"/>
                    </a:lnTo>
                    <a:lnTo>
                      <a:pt x="160" y="143"/>
                    </a:lnTo>
                    <a:lnTo>
                      <a:pt x="177" y="112"/>
                    </a:lnTo>
                    <a:lnTo>
                      <a:pt x="196" y="85"/>
                    </a:lnTo>
                    <a:lnTo>
                      <a:pt x="218" y="63"/>
                    </a:lnTo>
                    <a:lnTo>
                      <a:pt x="243" y="43"/>
                    </a:lnTo>
                    <a:lnTo>
                      <a:pt x="269" y="28"/>
                    </a:lnTo>
                    <a:lnTo>
                      <a:pt x="296" y="16"/>
                    </a:lnTo>
                    <a:lnTo>
                      <a:pt x="325" y="7"/>
                    </a:lnTo>
                    <a:lnTo>
                      <a:pt x="355" y="2"/>
                    </a:lnTo>
                    <a:lnTo>
                      <a:pt x="386" y="0"/>
                    </a:lnTo>
                    <a:close/>
                  </a:path>
                </a:pathLst>
              </a:custGeom>
              <a:solidFill>
                <a:srgbClr val="0070C0"/>
              </a:solidFill>
              <a:ln w="0">
                <a:solidFill>
                  <a:srgbClr val="0070C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1" dirty="0"/>
              </a:p>
            </p:txBody>
          </p:sp>
          <p:sp>
            <p:nvSpPr>
              <p:cNvPr id="68" name="Freeform 245">
                <a:extLst>
                  <a:ext uri="{FF2B5EF4-FFF2-40B4-BE49-F238E27FC236}">
                    <a16:creationId xmlns:a16="http://schemas.microsoft.com/office/drawing/2014/main" id="{A3DAD119-1976-6C4F-977F-E0A85CD550E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58332" y="3738534"/>
                <a:ext cx="73705" cy="75724"/>
              </a:xfrm>
              <a:custGeom>
                <a:avLst/>
                <a:gdLst>
                  <a:gd name="T0" fmla="*/ 332 w 663"/>
                  <a:gd name="T1" fmla="*/ 0 h 670"/>
                  <a:gd name="T2" fmla="*/ 377 w 663"/>
                  <a:gd name="T3" fmla="*/ 2 h 670"/>
                  <a:gd name="T4" fmla="*/ 420 w 663"/>
                  <a:gd name="T5" fmla="*/ 12 h 670"/>
                  <a:gd name="T6" fmla="*/ 461 w 663"/>
                  <a:gd name="T7" fmla="*/ 26 h 670"/>
                  <a:gd name="T8" fmla="*/ 499 w 663"/>
                  <a:gd name="T9" fmla="*/ 45 h 670"/>
                  <a:gd name="T10" fmla="*/ 534 w 663"/>
                  <a:gd name="T11" fmla="*/ 69 h 670"/>
                  <a:gd name="T12" fmla="*/ 566 w 663"/>
                  <a:gd name="T13" fmla="*/ 97 h 670"/>
                  <a:gd name="T14" fmla="*/ 594 w 663"/>
                  <a:gd name="T15" fmla="*/ 130 h 670"/>
                  <a:gd name="T16" fmla="*/ 618 w 663"/>
                  <a:gd name="T17" fmla="*/ 165 h 670"/>
                  <a:gd name="T18" fmla="*/ 637 w 663"/>
                  <a:gd name="T19" fmla="*/ 204 h 670"/>
                  <a:gd name="T20" fmla="*/ 651 w 663"/>
                  <a:gd name="T21" fmla="*/ 245 h 670"/>
                  <a:gd name="T22" fmla="*/ 660 w 663"/>
                  <a:gd name="T23" fmla="*/ 289 h 670"/>
                  <a:gd name="T24" fmla="*/ 663 w 663"/>
                  <a:gd name="T25" fmla="*/ 335 h 670"/>
                  <a:gd name="T26" fmla="*/ 660 w 663"/>
                  <a:gd name="T27" fmla="*/ 380 h 670"/>
                  <a:gd name="T28" fmla="*/ 651 w 663"/>
                  <a:gd name="T29" fmla="*/ 424 h 670"/>
                  <a:gd name="T30" fmla="*/ 637 w 663"/>
                  <a:gd name="T31" fmla="*/ 466 h 670"/>
                  <a:gd name="T32" fmla="*/ 618 w 663"/>
                  <a:gd name="T33" fmla="*/ 504 h 670"/>
                  <a:gd name="T34" fmla="*/ 594 w 663"/>
                  <a:gd name="T35" fmla="*/ 539 h 670"/>
                  <a:gd name="T36" fmla="*/ 566 w 663"/>
                  <a:gd name="T37" fmla="*/ 572 h 670"/>
                  <a:gd name="T38" fmla="*/ 534 w 663"/>
                  <a:gd name="T39" fmla="*/ 601 h 670"/>
                  <a:gd name="T40" fmla="*/ 499 w 663"/>
                  <a:gd name="T41" fmla="*/ 625 h 670"/>
                  <a:gd name="T42" fmla="*/ 461 w 663"/>
                  <a:gd name="T43" fmla="*/ 643 h 670"/>
                  <a:gd name="T44" fmla="*/ 420 w 663"/>
                  <a:gd name="T45" fmla="*/ 658 h 670"/>
                  <a:gd name="T46" fmla="*/ 377 w 663"/>
                  <a:gd name="T47" fmla="*/ 667 h 670"/>
                  <a:gd name="T48" fmla="*/ 332 w 663"/>
                  <a:gd name="T49" fmla="*/ 670 h 670"/>
                  <a:gd name="T50" fmla="*/ 286 w 663"/>
                  <a:gd name="T51" fmla="*/ 667 h 670"/>
                  <a:gd name="T52" fmla="*/ 244 w 663"/>
                  <a:gd name="T53" fmla="*/ 658 h 670"/>
                  <a:gd name="T54" fmla="*/ 203 w 663"/>
                  <a:gd name="T55" fmla="*/ 643 h 670"/>
                  <a:gd name="T56" fmla="*/ 165 w 663"/>
                  <a:gd name="T57" fmla="*/ 625 h 670"/>
                  <a:gd name="T58" fmla="*/ 129 w 663"/>
                  <a:gd name="T59" fmla="*/ 601 h 670"/>
                  <a:gd name="T60" fmla="*/ 98 w 663"/>
                  <a:gd name="T61" fmla="*/ 572 h 670"/>
                  <a:gd name="T62" fmla="*/ 70 w 663"/>
                  <a:gd name="T63" fmla="*/ 539 h 670"/>
                  <a:gd name="T64" fmla="*/ 46 w 663"/>
                  <a:gd name="T65" fmla="*/ 504 h 670"/>
                  <a:gd name="T66" fmla="*/ 26 w 663"/>
                  <a:gd name="T67" fmla="*/ 466 h 670"/>
                  <a:gd name="T68" fmla="*/ 12 w 663"/>
                  <a:gd name="T69" fmla="*/ 424 h 670"/>
                  <a:gd name="T70" fmla="*/ 4 w 663"/>
                  <a:gd name="T71" fmla="*/ 380 h 670"/>
                  <a:gd name="T72" fmla="*/ 0 w 663"/>
                  <a:gd name="T73" fmla="*/ 335 h 670"/>
                  <a:gd name="T74" fmla="*/ 4 w 663"/>
                  <a:gd name="T75" fmla="*/ 289 h 670"/>
                  <a:gd name="T76" fmla="*/ 12 w 663"/>
                  <a:gd name="T77" fmla="*/ 245 h 670"/>
                  <a:gd name="T78" fmla="*/ 26 w 663"/>
                  <a:gd name="T79" fmla="*/ 204 h 670"/>
                  <a:gd name="T80" fmla="*/ 46 w 663"/>
                  <a:gd name="T81" fmla="*/ 165 h 670"/>
                  <a:gd name="T82" fmla="*/ 70 w 663"/>
                  <a:gd name="T83" fmla="*/ 130 h 670"/>
                  <a:gd name="T84" fmla="*/ 98 w 663"/>
                  <a:gd name="T85" fmla="*/ 97 h 670"/>
                  <a:gd name="T86" fmla="*/ 129 w 663"/>
                  <a:gd name="T87" fmla="*/ 69 h 670"/>
                  <a:gd name="T88" fmla="*/ 165 w 663"/>
                  <a:gd name="T89" fmla="*/ 45 h 670"/>
                  <a:gd name="T90" fmla="*/ 203 w 663"/>
                  <a:gd name="T91" fmla="*/ 26 h 670"/>
                  <a:gd name="T92" fmla="*/ 244 w 663"/>
                  <a:gd name="T93" fmla="*/ 12 h 670"/>
                  <a:gd name="T94" fmla="*/ 286 w 663"/>
                  <a:gd name="T95" fmla="*/ 2 h 670"/>
                  <a:gd name="T96" fmla="*/ 332 w 663"/>
                  <a:gd name="T97" fmla="*/ 0 h 6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663" h="670">
                    <a:moveTo>
                      <a:pt x="332" y="0"/>
                    </a:moveTo>
                    <a:lnTo>
                      <a:pt x="377" y="2"/>
                    </a:lnTo>
                    <a:lnTo>
                      <a:pt x="420" y="12"/>
                    </a:lnTo>
                    <a:lnTo>
                      <a:pt x="461" y="26"/>
                    </a:lnTo>
                    <a:lnTo>
                      <a:pt x="499" y="45"/>
                    </a:lnTo>
                    <a:lnTo>
                      <a:pt x="534" y="69"/>
                    </a:lnTo>
                    <a:lnTo>
                      <a:pt x="566" y="97"/>
                    </a:lnTo>
                    <a:lnTo>
                      <a:pt x="594" y="130"/>
                    </a:lnTo>
                    <a:lnTo>
                      <a:pt x="618" y="165"/>
                    </a:lnTo>
                    <a:lnTo>
                      <a:pt x="637" y="204"/>
                    </a:lnTo>
                    <a:lnTo>
                      <a:pt x="651" y="245"/>
                    </a:lnTo>
                    <a:lnTo>
                      <a:pt x="660" y="289"/>
                    </a:lnTo>
                    <a:lnTo>
                      <a:pt x="663" y="335"/>
                    </a:lnTo>
                    <a:lnTo>
                      <a:pt x="660" y="380"/>
                    </a:lnTo>
                    <a:lnTo>
                      <a:pt x="651" y="424"/>
                    </a:lnTo>
                    <a:lnTo>
                      <a:pt x="637" y="466"/>
                    </a:lnTo>
                    <a:lnTo>
                      <a:pt x="618" y="504"/>
                    </a:lnTo>
                    <a:lnTo>
                      <a:pt x="594" y="539"/>
                    </a:lnTo>
                    <a:lnTo>
                      <a:pt x="566" y="572"/>
                    </a:lnTo>
                    <a:lnTo>
                      <a:pt x="534" y="601"/>
                    </a:lnTo>
                    <a:lnTo>
                      <a:pt x="499" y="625"/>
                    </a:lnTo>
                    <a:lnTo>
                      <a:pt x="461" y="643"/>
                    </a:lnTo>
                    <a:lnTo>
                      <a:pt x="420" y="658"/>
                    </a:lnTo>
                    <a:lnTo>
                      <a:pt x="377" y="667"/>
                    </a:lnTo>
                    <a:lnTo>
                      <a:pt x="332" y="670"/>
                    </a:lnTo>
                    <a:lnTo>
                      <a:pt x="286" y="667"/>
                    </a:lnTo>
                    <a:lnTo>
                      <a:pt x="244" y="658"/>
                    </a:lnTo>
                    <a:lnTo>
                      <a:pt x="203" y="643"/>
                    </a:lnTo>
                    <a:lnTo>
                      <a:pt x="165" y="625"/>
                    </a:lnTo>
                    <a:lnTo>
                      <a:pt x="129" y="601"/>
                    </a:lnTo>
                    <a:lnTo>
                      <a:pt x="98" y="572"/>
                    </a:lnTo>
                    <a:lnTo>
                      <a:pt x="70" y="539"/>
                    </a:lnTo>
                    <a:lnTo>
                      <a:pt x="46" y="504"/>
                    </a:lnTo>
                    <a:lnTo>
                      <a:pt x="26" y="466"/>
                    </a:lnTo>
                    <a:lnTo>
                      <a:pt x="12" y="424"/>
                    </a:lnTo>
                    <a:lnTo>
                      <a:pt x="4" y="380"/>
                    </a:lnTo>
                    <a:lnTo>
                      <a:pt x="0" y="335"/>
                    </a:lnTo>
                    <a:lnTo>
                      <a:pt x="4" y="289"/>
                    </a:lnTo>
                    <a:lnTo>
                      <a:pt x="12" y="245"/>
                    </a:lnTo>
                    <a:lnTo>
                      <a:pt x="26" y="204"/>
                    </a:lnTo>
                    <a:lnTo>
                      <a:pt x="46" y="165"/>
                    </a:lnTo>
                    <a:lnTo>
                      <a:pt x="70" y="130"/>
                    </a:lnTo>
                    <a:lnTo>
                      <a:pt x="98" y="97"/>
                    </a:lnTo>
                    <a:lnTo>
                      <a:pt x="129" y="69"/>
                    </a:lnTo>
                    <a:lnTo>
                      <a:pt x="165" y="45"/>
                    </a:lnTo>
                    <a:lnTo>
                      <a:pt x="203" y="26"/>
                    </a:lnTo>
                    <a:lnTo>
                      <a:pt x="244" y="12"/>
                    </a:lnTo>
                    <a:lnTo>
                      <a:pt x="286" y="2"/>
                    </a:lnTo>
                    <a:lnTo>
                      <a:pt x="332" y="0"/>
                    </a:lnTo>
                    <a:close/>
                  </a:path>
                </a:pathLst>
              </a:custGeom>
              <a:solidFill>
                <a:srgbClr val="0070C0"/>
              </a:solidFill>
              <a:ln w="0">
                <a:solidFill>
                  <a:srgbClr val="0070C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1" dirty="0"/>
              </a:p>
            </p:txBody>
          </p:sp>
        </p:grpSp>
      </p:grpSp>
      <p:sp>
        <p:nvSpPr>
          <p:cNvPr id="69" name="TextBox 70">
            <a:extLst>
              <a:ext uri="{FF2B5EF4-FFF2-40B4-BE49-F238E27FC236}">
                <a16:creationId xmlns:a16="http://schemas.microsoft.com/office/drawing/2014/main" id="{BC60B219-8111-6140-8AD3-542B39D75C80}"/>
              </a:ext>
            </a:extLst>
          </p:cNvPr>
          <p:cNvSpPr txBox="1"/>
          <p:nvPr/>
        </p:nvSpPr>
        <p:spPr>
          <a:xfrm>
            <a:off x="3880816" y="3084062"/>
            <a:ext cx="1457289" cy="107760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09585"/>
            <a:r>
              <a:rPr lang="fr-FR" sz="1067" dirty="0">
                <a:solidFill>
                  <a:prstClr val="black">
                    <a:lumMod val="95000"/>
                    <a:lumOff val="5000"/>
                  </a:prstClr>
                </a:solidFill>
                <a:latin typeface="Marianne" panose="02000000000000000000" pitchFamily="2" charset="0"/>
              </a:rPr>
              <a:t>Réservation pour </a:t>
            </a:r>
            <a:r>
              <a:rPr lang="fr-FR" sz="1067" dirty="0" smtClean="0">
                <a:solidFill>
                  <a:prstClr val="black">
                    <a:lumMod val="95000"/>
                    <a:lumOff val="5000"/>
                  </a:prstClr>
                </a:solidFill>
                <a:latin typeface="Marianne" panose="02000000000000000000" pitchFamily="2" charset="0"/>
              </a:rPr>
              <a:t>X </a:t>
            </a:r>
            <a:r>
              <a:rPr lang="fr-FR" sz="1067" dirty="0">
                <a:solidFill>
                  <a:prstClr val="black">
                    <a:lumMod val="95000"/>
                    <a:lumOff val="5000"/>
                  </a:prstClr>
                </a:solidFill>
                <a:latin typeface="Marianne" panose="02000000000000000000" pitchFamily="2" charset="0"/>
              </a:rPr>
              <a:t>ans pour une commune en contrepartie d’une garantie d’emprunt</a:t>
            </a:r>
            <a:endParaRPr lang="fr-FR" sz="1067" dirty="0">
              <a:solidFill>
                <a:srgbClr val="7FCECD"/>
              </a:solidFill>
              <a:latin typeface="Marianne" panose="02000000000000000000" pitchFamily="2" charset="0"/>
            </a:endParaRPr>
          </a:p>
        </p:txBody>
      </p:sp>
      <p:grpSp>
        <p:nvGrpSpPr>
          <p:cNvPr id="70" name="Group 91">
            <a:extLst>
              <a:ext uri="{FF2B5EF4-FFF2-40B4-BE49-F238E27FC236}">
                <a16:creationId xmlns:a16="http://schemas.microsoft.com/office/drawing/2014/main" id="{2905769C-896F-5C4A-9A9C-63C492AAEECA}"/>
              </a:ext>
            </a:extLst>
          </p:cNvPr>
          <p:cNvGrpSpPr/>
          <p:nvPr/>
        </p:nvGrpSpPr>
        <p:grpSpPr>
          <a:xfrm>
            <a:off x="3350248" y="4834116"/>
            <a:ext cx="944563" cy="942975"/>
            <a:chOff x="1970088" y="4926013"/>
            <a:chExt cx="944563" cy="942975"/>
          </a:xfrm>
        </p:grpSpPr>
        <p:sp>
          <p:nvSpPr>
            <p:cNvPr id="71" name="Oval 40">
              <a:extLst>
                <a:ext uri="{FF2B5EF4-FFF2-40B4-BE49-F238E27FC236}">
                  <a16:creationId xmlns:a16="http://schemas.microsoft.com/office/drawing/2014/main" id="{4105A891-D96F-FF48-B707-5404D19AD45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70088" y="4926013"/>
              <a:ext cx="944563" cy="942975"/>
            </a:xfrm>
            <a:prstGeom prst="ellipse">
              <a:avLst/>
            </a:prstGeom>
            <a:solidFill>
              <a:srgbClr val="FFFFFF"/>
            </a:solidFill>
            <a:ln w="50800" cap="flat">
              <a:solidFill>
                <a:srgbClr val="D9408D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1"/>
            </a:p>
          </p:txBody>
        </p:sp>
        <p:grpSp>
          <p:nvGrpSpPr>
            <p:cNvPr id="72" name="Group 45">
              <a:extLst>
                <a:ext uri="{FF2B5EF4-FFF2-40B4-BE49-F238E27FC236}">
                  <a16:creationId xmlns:a16="http://schemas.microsoft.com/office/drawing/2014/main" id="{6D73CF31-6DF6-BF46-8893-1FD3DEB1246A}"/>
                </a:ext>
              </a:extLst>
            </p:cNvPr>
            <p:cNvGrpSpPr/>
            <p:nvPr/>
          </p:nvGrpSpPr>
          <p:grpSpPr>
            <a:xfrm>
              <a:off x="2309094" y="5202131"/>
              <a:ext cx="266549" cy="390738"/>
              <a:chOff x="2388710" y="3738534"/>
              <a:chExt cx="266549" cy="390738"/>
            </a:xfrm>
            <a:solidFill>
              <a:schemeClr val="accent5"/>
            </a:solidFill>
          </p:grpSpPr>
          <p:sp>
            <p:nvSpPr>
              <p:cNvPr id="73" name="Freeform 243">
                <a:extLst>
                  <a:ext uri="{FF2B5EF4-FFF2-40B4-BE49-F238E27FC236}">
                    <a16:creationId xmlns:a16="http://schemas.microsoft.com/office/drawing/2014/main" id="{45BB9F2A-E511-5641-8641-2F6A28968F2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11932" y="3738534"/>
                <a:ext cx="73705" cy="75724"/>
              </a:xfrm>
              <a:custGeom>
                <a:avLst/>
                <a:gdLst>
                  <a:gd name="T0" fmla="*/ 331 w 661"/>
                  <a:gd name="T1" fmla="*/ 0 h 670"/>
                  <a:gd name="T2" fmla="*/ 376 w 661"/>
                  <a:gd name="T3" fmla="*/ 2 h 670"/>
                  <a:gd name="T4" fmla="*/ 419 w 661"/>
                  <a:gd name="T5" fmla="*/ 12 h 670"/>
                  <a:gd name="T6" fmla="*/ 460 w 661"/>
                  <a:gd name="T7" fmla="*/ 26 h 670"/>
                  <a:gd name="T8" fmla="*/ 498 w 661"/>
                  <a:gd name="T9" fmla="*/ 45 h 670"/>
                  <a:gd name="T10" fmla="*/ 533 w 661"/>
                  <a:gd name="T11" fmla="*/ 69 h 670"/>
                  <a:gd name="T12" fmla="*/ 565 w 661"/>
                  <a:gd name="T13" fmla="*/ 97 h 670"/>
                  <a:gd name="T14" fmla="*/ 593 w 661"/>
                  <a:gd name="T15" fmla="*/ 130 h 670"/>
                  <a:gd name="T16" fmla="*/ 617 w 661"/>
                  <a:gd name="T17" fmla="*/ 165 h 670"/>
                  <a:gd name="T18" fmla="*/ 635 w 661"/>
                  <a:gd name="T19" fmla="*/ 204 h 670"/>
                  <a:gd name="T20" fmla="*/ 650 w 661"/>
                  <a:gd name="T21" fmla="*/ 245 h 670"/>
                  <a:gd name="T22" fmla="*/ 659 w 661"/>
                  <a:gd name="T23" fmla="*/ 289 h 670"/>
                  <a:gd name="T24" fmla="*/ 661 w 661"/>
                  <a:gd name="T25" fmla="*/ 335 h 670"/>
                  <a:gd name="T26" fmla="*/ 659 w 661"/>
                  <a:gd name="T27" fmla="*/ 380 h 670"/>
                  <a:gd name="T28" fmla="*/ 650 w 661"/>
                  <a:gd name="T29" fmla="*/ 424 h 670"/>
                  <a:gd name="T30" fmla="*/ 635 w 661"/>
                  <a:gd name="T31" fmla="*/ 466 h 670"/>
                  <a:gd name="T32" fmla="*/ 617 w 661"/>
                  <a:gd name="T33" fmla="*/ 504 h 670"/>
                  <a:gd name="T34" fmla="*/ 593 w 661"/>
                  <a:gd name="T35" fmla="*/ 539 h 670"/>
                  <a:gd name="T36" fmla="*/ 565 w 661"/>
                  <a:gd name="T37" fmla="*/ 572 h 670"/>
                  <a:gd name="T38" fmla="*/ 533 w 661"/>
                  <a:gd name="T39" fmla="*/ 601 h 670"/>
                  <a:gd name="T40" fmla="*/ 498 w 661"/>
                  <a:gd name="T41" fmla="*/ 625 h 670"/>
                  <a:gd name="T42" fmla="*/ 460 w 661"/>
                  <a:gd name="T43" fmla="*/ 643 h 670"/>
                  <a:gd name="T44" fmla="*/ 419 w 661"/>
                  <a:gd name="T45" fmla="*/ 658 h 670"/>
                  <a:gd name="T46" fmla="*/ 376 w 661"/>
                  <a:gd name="T47" fmla="*/ 667 h 670"/>
                  <a:gd name="T48" fmla="*/ 331 w 661"/>
                  <a:gd name="T49" fmla="*/ 670 h 670"/>
                  <a:gd name="T50" fmla="*/ 286 w 661"/>
                  <a:gd name="T51" fmla="*/ 667 h 670"/>
                  <a:gd name="T52" fmla="*/ 242 w 661"/>
                  <a:gd name="T53" fmla="*/ 658 h 670"/>
                  <a:gd name="T54" fmla="*/ 201 w 661"/>
                  <a:gd name="T55" fmla="*/ 643 h 670"/>
                  <a:gd name="T56" fmla="*/ 163 w 661"/>
                  <a:gd name="T57" fmla="*/ 625 h 670"/>
                  <a:gd name="T58" fmla="*/ 128 w 661"/>
                  <a:gd name="T59" fmla="*/ 601 h 670"/>
                  <a:gd name="T60" fmla="*/ 96 w 661"/>
                  <a:gd name="T61" fmla="*/ 572 h 670"/>
                  <a:gd name="T62" fmla="*/ 68 w 661"/>
                  <a:gd name="T63" fmla="*/ 539 h 670"/>
                  <a:gd name="T64" fmla="*/ 44 w 661"/>
                  <a:gd name="T65" fmla="*/ 504 h 670"/>
                  <a:gd name="T66" fmla="*/ 26 w 661"/>
                  <a:gd name="T67" fmla="*/ 466 h 670"/>
                  <a:gd name="T68" fmla="*/ 11 w 661"/>
                  <a:gd name="T69" fmla="*/ 424 h 670"/>
                  <a:gd name="T70" fmla="*/ 2 w 661"/>
                  <a:gd name="T71" fmla="*/ 380 h 670"/>
                  <a:gd name="T72" fmla="*/ 0 w 661"/>
                  <a:gd name="T73" fmla="*/ 335 h 670"/>
                  <a:gd name="T74" fmla="*/ 2 w 661"/>
                  <a:gd name="T75" fmla="*/ 289 h 670"/>
                  <a:gd name="T76" fmla="*/ 11 w 661"/>
                  <a:gd name="T77" fmla="*/ 245 h 670"/>
                  <a:gd name="T78" fmla="*/ 26 w 661"/>
                  <a:gd name="T79" fmla="*/ 204 h 670"/>
                  <a:gd name="T80" fmla="*/ 44 w 661"/>
                  <a:gd name="T81" fmla="*/ 165 h 670"/>
                  <a:gd name="T82" fmla="*/ 68 w 661"/>
                  <a:gd name="T83" fmla="*/ 130 h 670"/>
                  <a:gd name="T84" fmla="*/ 96 w 661"/>
                  <a:gd name="T85" fmla="*/ 97 h 670"/>
                  <a:gd name="T86" fmla="*/ 128 w 661"/>
                  <a:gd name="T87" fmla="*/ 69 h 670"/>
                  <a:gd name="T88" fmla="*/ 163 w 661"/>
                  <a:gd name="T89" fmla="*/ 45 h 670"/>
                  <a:gd name="T90" fmla="*/ 201 w 661"/>
                  <a:gd name="T91" fmla="*/ 26 h 670"/>
                  <a:gd name="T92" fmla="*/ 242 w 661"/>
                  <a:gd name="T93" fmla="*/ 12 h 670"/>
                  <a:gd name="T94" fmla="*/ 286 w 661"/>
                  <a:gd name="T95" fmla="*/ 2 h 670"/>
                  <a:gd name="T96" fmla="*/ 331 w 661"/>
                  <a:gd name="T97" fmla="*/ 0 h 6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661" h="670">
                    <a:moveTo>
                      <a:pt x="331" y="0"/>
                    </a:moveTo>
                    <a:lnTo>
                      <a:pt x="376" y="2"/>
                    </a:lnTo>
                    <a:lnTo>
                      <a:pt x="419" y="12"/>
                    </a:lnTo>
                    <a:lnTo>
                      <a:pt x="460" y="26"/>
                    </a:lnTo>
                    <a:lnTo>
                      <a:pt x="498" y="45"/>
                    </a:lnTo>
                    <a:lnTo>
                      <a:pt x="533" y="69"/>
                    </a:lnTo>
                    <a:lnTo>
                      <a:pt x="565" y="97"/>
                    </a:lnTo>
                    <a:lnTo>
                      <a:pt x="593" y="130"/>
                    </a:lnTo>
                    <a:lnTo>
                      <a:pt x="617" y="165"/>
                    </a:lnTo>
                    <a:lnTo>
                      <a:pt x="635" y="204"/>
                    </a:lnTo>
                    <a:lnTo>
                      <a:pt x="650" y="245"/>
                    </a:lnTo>
                    <a:lnTo>
                      <a:pt x="659" y="289"/>
                    </a:lnTo>
                    <a:lnTo>
                      <a:pt x="661" y="335"/>
                    </a:lnTo>
                    <a:lnTo>
                      <a:pt x="659" y="380"/>
                    </a:lnTo>
                    <a:lnTo>
                      <a:pt x="650" y="424"/>
                    </a:lnTo>
                    <a:lnTo>
                      <a:pt x="635" y="466"/>
                    </a:lnTo>
                    <a:lnTo>
                      <a:pt x="617" y="504"/>
                    </a:lnTo>
                    <a:lnTo>
                      <a:pt x="593" y="539"/>
                    </a:lnTo>
                    <a:lnTo>
                      <a:pt x="565" y="572"/>
                    </a:lnTo>
                    <a:lnTo>
                      <a:pt x="533" y="601"/>
                    </a:lnTo>
                    <a:lnTo>
                      <a:pt x="498" y="625"/>
                    </a:lnTo>
                    <a:lnTo>
                      <a:pt x="460" y="643"/>
                    </a:lnTo>
                    <a:lnTo>
                      <a:pt x="419" y="658"/>
                    </a:lnTo>
                    <a:lnTo>
                      <a:pt x="376" y="667"/>
                    </a:lnTo>
                    <a:lnTo>
                      <a:pt x="331" y="670"/>
                    </a:lnTo>
                    <a:lnTo>
                      <a:pt x="286" y="667"/>
                    </a:lnTo>
                    <a:lnTo>
                      <a:pt x="242" y="658"/>
                    </a:lnTo>
                    <a:lnTo>
                      <a:pt x="201" y="643"/>
                    </a:lnTo>
                    <a:lnTo>
                      <a:pt x="163" y="625"/>
                    </a:lnTo>
                    <a:lnTo>
                      <a:pt x="128" y="601"/>
                    </a:lnTo>
                    <a:lnTo>
                      <a:pt x="96" y="572"/>
                    </a:lnTo>
                    <a:lnTo>
                      <a:pt x="68" y="539"/>
                    </a:lnTo>
                    <a:lnTo>
                      <a:pt x="44" y="504"/>
                    </a:lnTo>
                    <a:lnTo>
                      <a:pt x="26" y="466"/>
                    </a:lnTo>
                    <a:lnTo>
                      <a:pt x="11" y="424"/>
                    </a:lnTo>
                    <a:lnTo>
                      <a:pt x="2" y="380"/>
                    </a:lnTo>
                    <a:lnTo>
                      <a:pt x="0" y="335"/>
                    </a:lnTo>
                    <a:lnTo>
                      <a:pt x="2" y="289"/>
                    </a:lnTo>
                    <a:lnTo>
                      <a:pt x="11" y="245"/>
                    </a:lnTo>
                    <a:lnTo>
                      <a:pt x="26" y="204"/>
                    </a:lnTo>
                    <a:lnTo>
                      <a:pt x="44" y="165"/>
                    </a:lnTo>
                    <a:lnTo>
                      <a:pt x="68" y="130"/>
                    </a:lnTo>
                    <a:lnTo>
                      <a:pt x="96" y="97"/>
                    </a:lnTo>
                    <a:lnTo>
                      <a:pt x="128" y="69"/>
                    </a:lnTo>
                    <a:lnTo>
                      <a:pt x="163" y="45"/>
                    </a:lnTo>
                    <a:lnTo>
                      <a:pt x="201" y="26"/>
                    </a:lnTo>
                    <a:lnTo>
                      <a:pt x="242" y="12"/>
                    </a:lnTo>
                    <a:lnTo>
                      <a:pt x="286" y="2"/>
                    </a:lnTo>
                    <a:lnTo>
                      <a:pt x="331" y="0"/>
                    </a:lnTo>
                    <a:close/>
                  </a:path>
                </a:pathLst>
              </a:custGeom>
              <a:solidFill>
                <a:srgbClr val="D9408D"/>
              </a:solidFill>
              <a:ln w="0">
                <a:solidFill>
                  <a:srgbClr val="D9408D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1" dirty="0"/>
              </a:p>
            </p:txBody>
          </p:sp>
          <p:sp>
            <p:nvSpPr>
              <p:cNvPr id="74" name="Freeform 244">
                <a:extLst>
                  <a:ext uri="{FF2B5EF4-FFF2-40B4-BE49-F238E27FC236}">
                    <a16:creationId xmlns:a16="http://schemas.microsoft.com/office/drawing/2014/main" id="{9D88FB00-F2A2-334C-B786-0E50236DFD8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88710" y="3817287"/>
                <a:ext cx="266549" cy="311985"/>
              </a:xfrm>
              <a:custGeom>
                <a:avLst/>
                <a:gdLst>
                  <a:gd name="T0" fmla="*/ 447 w 2377"/>
                  <a:gd name="T1" fmla="*/ 6 h 2779"/>
                  <a:gd name="T2" fmla="*/ 538 w 2377"/>
                  <a:gd name="T3" fmla="*/ 36 h 2779"/>
                  <a:gd name="T4" fmla="*/ 617 w 2377"/>
                  <a:gd name="T5" fmla="*/ 91 h 2779"/>
                  <a:gd name="T6" fmla="*/ 677 w 2377"/>
                  <a:gd name="T7" fmla="*/ 168 h 2779"/>
                  <a:gd name="T8" fmla="*/ 746 w 2377"/>
                  <a:gd name="T9" fmla="*/ 281 h 2779"/>
                  <a:gd name="T10" fmla="*/ 916 w 2377"/>
                  <a:gd name="T11" fmla="*/ 529 h 2779"/>
                  <a:gd name="T12" fmla="*/ 1115 w 2377"/>
                  <a:gd name="T13" fmla="*/ 750 h 2779"/>
                  <a:gd name="T14" fmla="*/ 1332 w 2377"/>
                  <a:gd name="T15" fmla="*/ 679 h 2779"/>
                  <a:gd name="T16" fmla="*/ 1521 w 2377"/>
                  <a:gd name="T17" fmla="*/ 449 h 2779"/>
                  <a:gd name="T18" fmla="*/ 1683 w 2377"/>
                  <a:gd name="T19" fmla="*/ 195 h 2779"/>
                  <a:gd name="T20" fmla="*/ 1735 w 2377"/>
                  <a:gd name="T21" fmla="*/ 117 h 2779"/>
                  <a:gd name="T22" fmla="*/ 1808 w 2377"/>
                  <a:gd name="T23" fmla="*/ 53 h 2779"/>
                  <a:gd name="T24" fmla="*/ 1896 w 2377"/>
                  <a:gd name="T25" fmla="*/ 14 h 2779"/>
                  <a:gd name="T26" fmla="*/ 1990 w 2377"/>
                  <a:gd name="T27" fmla="*/ 0 h 2779"/>
                  <a:gd name="T28" fmla="*/ 2080 w 2377"/>
                  <a:gd name="T29" fmla="*/ 16 h 2779"/>
                  <a:gd name="T30" fmla="*/ 2158 w 2377"/>
                  <a:gd name="T31" fmla="*/ 63 h 2779"/>
                  <a:gd name="T32" fmla="*/ 2217 w 2377"/>
                  <a:gd name="T33" fmla="*/ 144 h 2779"/>
                  <a:gd name="T34" fmla="*/ 2275 w 2377"/>
                  <a:gd name="T35" fmla="*/ 408 h 2779"/>
                  <a:gd name="T36" fmla="*/ 2351 w 2377"/>
                  <a:gd name="T37" fmla="*/ 985 h 2779"/>
                  <a:gd name="T38" fmla="*/ 2376 w 2377"/>
                  <a:gd name="T39" fmla="*/ 1413 h 2779"/>
                  <a:gd name="T40" fmla="*/ 2349 w 2377"/>
                  <a:gd name="T41" fmla="*/ 1515 h 2779"/>
                  <a:gd name="T42" fmla="*/ 2337 w 2377"/>
                  <a:gd name="T43" fmla="*/ 1584 h 2779"/>
                  <a:gd name="T44" fmla="*/ 2327 w 2377"/>
                  <a:gd name="T45" fmla="*/ 2669 h 2779"/>
                  <a:gd name="T46" fmla="*/ 2282 w 2377"/>
                  <a:gd name="T47" fmla="*/ 2736 h 2779"/>
                  <a:gd name="T48" fmla="*/ 2213 w 2377"/>
                  <a:gd name="T49" fmla="*/ 2772 h 2779"/>
                  <a:gd name="T50" fmla="*/ 2137 w 2377"/>
                  <a:gd name="T51" fmla="*/ 2776 h 2779"/>
                  <a:gd name="T52" fmla="*/ 2063 w 2377"/>
                  <a:gd name="T53" fmla="*/ 2751 h 2779"/>
                  <a:gd name="T54" fmla="*/ 2009 w 2377"/>
                  <a:gd name="T55" fmla="*/ 2695 h 2779"/>
                  <a:gd name="T56" fmla="*/ 1988 w 2377"/>
                  <a:gd name="T57" fmla="*/ 2608 h 2779"/>
                  <a:gd name="T58" fmla="*/ 1926 w 2377"/>
                  <a:gd name="T59" fmla="*/ 1612 h 2779"/>
                  <a:gd name="T60" fmla="*/ 1850 w 2377"/>
                  <a:gd name="T61" fmla="*/ 1545 h 2779"/>
                  <a:gd name="T62" fmla="*/ 1801 w 2377"/>
                  <a:gd name="T63" fmla="*/ 1449 h 2779"/>
                  <a:gd name="T64" fmla="*/ 1776 w 2377"/>
                  <a:gd name="T65" fmla="*/ 1159 h 2779"/>
                  <a:gd name="T66" fmla="*/ 1663 w 2377"/>
                  <a:gd name="T67" fmla="*/ 829 h 2779"/>
                  <a:gd name="T68" fmla="*/ 1436 w 2377"/>
                  <a:gd name="T69" fmla="*/ 1063 h 2779"/>
                  <a:gd name="T70" fmla="*/ 1325 w 2377"/>
                  <a:gd name="T71" fmla="*/ 1185 h 2779"/>
                  <a:gd name="T72" fmla="*/ 1265 w 2377"/>
                  <a:gd name="T73" fmla="*/ 1235 h 2779"/>
                  <a:gd name="T74" fmla="*/ 1189 w 2377"/>
                  <a:gd name="T75" fmla="*/ 1245 h 2779"/>
                  <a:gd name="T76" fmla="*/ 1112 w 2377"/>
                  <a:gd name="T77" fmla="*/ 1235 h 2779"/>
                  <a:gd name="T78" fmla="*/ 1051 w 2377"/>
                  <a:gd name="T79" fmla="*/ 1185 h 2779"/>
                  <a:gd name="T80" fmla="*/ 942 w 2377"/>
                  <a:gd name="T81" fmla="*/ 1063 h 2779"/>
                  <a:gd name="T82" fmla="*/ 714 w 2377"/>
                  <a:gd name="T83" fmla="*/ 829 h 2779"/>
                  <a:gd name="T84" fmla="*/ 601 w 2377"/>
                  <a:gd name="T85" fmla="*/ 1163 h 2779"/>
                  <a:gd name="T86" fmla="*/ 577 w 2377"/>
                  <a:gd name="T87" fmla="*/ 1452 h 2779"/>
                  <a:gd name="T88" fmla="*/ 527 w 2377"/>
                  <a:gd name="T89" fmla="*/ 1549 h 2779"/>
                  <a:gd name="T90" fmla="*/ 450 w 2377"/>
                  <a:gd name="T91" fmla="*/ 1614 h 2779"/>
                  <a:gd name="T92" fmla="*/ 390 w 2377"/>
                  <a:gd name="T93" fmla="*/ 2608 h 2779"/>
                  <a:gd name="T94" fmla="*/ 368 w 2377"/>
                  <a:gd name="T95" fmla="*/ 2695 h 2779"/>
                  <a:gd name="T96" fmla="*/ 314 w 2377"/>
                  <a:gd name="T97" fmla="*/ 2751 h 2779"/>
                  <a:gd name="T98" fmla="*/ 241 w 2377"/>
                  <a:gd name="T99" fmla="*/ 2776 h 2779"/>
                  <a:gd name="T100" fmla="*/ 164 w 2377"/>
                  <a:gd name="T101" fmla="*/ 2772 h 2779"/>
                  <a:gd name="T102" fmla="*/ 95 w 2377"/>
                  <a:gd name="T103" fmla="*/ 2736 h 2779"/>
                  <a:gd name="T104" fmla="*/ 51 w 2377"/>
                  <a:gd name="T105" fmla="*/ 2669 h 2779"/>
                  <a:gd name="T106" fmla="*/ 41 w 2377"/>
                  <a:gd name="T107" fmla="*/ 1584 h 2779"/>
                  <a:gd name="T108" fmla="*/ 29 w 2377"/>
                  <a:gd name="T109" fmla="*/ 1512 h 2779"/>
                  <a:gd name="T110" fmla="*/ 1 w 2377"/>
                  <a:gd name="T111" fmla="*/ 1408 h 2779"/>
                  <a:gd name="T112" fmla="*/ 26 w 2377"/>
                  <a:gd name="T113" fmla="*/ 982 h 2779"/>
                  <a:gd name="T114" fmla="*/ 103 w 2377"/>
                  <a:gd name="T115" fmla="*/ 406 h 2779"/>
                  <a:gd name="T116" fmla="*/ 160 w 2377"/>
                  <a:gd name="T117" fmla="*/ 143 h 2779"/>
                  <a:gd name="T118" fmla="*/ 218 w 2377"/>
                  <a:gd name="T119" fmla="*/ 63 h 2779"/>
                  <a:gd name="T120" fmla="*/ 296 w 2377"/>
                  <a:gd name="T121" fmla="*/ 16 h 2779"/>
                  <a:gd name="T122" fmla="*/ 386 w 2377"/>
                  <a:gd name="T123" fmla="*/ 0 h 27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2377" h="2779">
                    <a:moveTo>
                      <a:pt x="386" y="0"/>
                    </a:moveTo>
                    <a:lnTo>
                      <a:pt x="417" y="2"/>
                    </a:lnTo>
                    <a:lnTo>
                      <a:pt x="447" y="6"/>
                    </a:lnTo>
                    <a:lnTo>
                      <a:pt x="479" y="13"/>
                    </a:lnTo>
                    <a:lnTo>
                      <a:pt x="509" y="22"/>
                    </a:lnTo>
                    <a:lnTo>
                      <a:pt x="538" y="36"/>
                    </a:lnTo>
                    <a:lnTo>
                      <a:pt x="566" y="52"/>
                    </a:lnTo>
                    <a:lnTo>
                      <a:pt x="592" y="70"/>
                    </a:lnTo>
                    <a:lnTo>
                      <a:pt x="617" y="91"/>
                    </a:lnTo>
                    <a:lnTo>
                      <a:pt x="640" y="114"/>
                    </a:lnTo>
                    <a:lnTo>
                      <a:pt x="659" y="140"/>
                    </a:lnTo>
                    <a:lnTo>
                      <a:pt x="677" y="168"/>
                    </a:lnTo>
                    <a:lnTo>
                      <a:pt x="687" y="180"/>
                    </a:lnTo>
                    <a:lnTo>
                      <a:pt x="694" y="195"/>
                    </a:lnTo>
                    <a:lnTo>
                      <a:pt x="746" y="281"/>
                    </a:lnTo>
                    <a:lnTo>
                      <a:pt x="799" y="367"/>
                    </a:lnTo>
                    <a:lnTo>
                      <a:pt x="857" y="449"/>
                    </a:lnTo>
                    <a:lnTo>
                      <a:pt x="916" y="529"/>
                    </a:lnTo>
                    <a:lnTo>
                      <a:pt x="979" y="606"/>
                    </a:lnTo>
                    <a:lnTo>
                      <a:pt x="1046" y="679"/>
                    </a:lnTo>
                    <a:lnTo>
                      <a:pt x="1115" y="750"/>
                    </a:lnTo>
                    <a:lnTo>
                      <a:pt x="1189" y="818"/>
                    </a:lnTo>
                    <a:lnTo>
                      <a:pt x="1262" y="750"/>
                    </a:lnTo>
                    <a:lnTo>
                      <a:pt x="1332" y="679"/>
                    </a:lnTo>
                    <a:lnTo>
                      <a:pt x="1398" y="606"/>
                    </a:lnTo>
                    <a:lnTo>
                      <a:pt x="1461" y="529"/>
                    </a:lnTo>
                    <a:lnTo>
                      <a:pt x="1521" y="449"/>
                    </a:lnTo>
                    <a:lnTo>
                      <a:pt x="1578" y="367"/>
                    </a:lnTo>
                    <a:lnTo>
                      <a:pt x="1632" y="281"/>
                    </a:lnTo>
                    <a:lnTo>
                      <a:pt x="1683" y="195"/>
                    </a:lnTo>
                    <a:lnTo>
                      <a:pt x="1698" y="170"/>
                    </a:lnTo>
                    <a:lnTo>
                      <a:pt x="1715" y="143"/>
                    </a:lnTo>
                    <a:lnTo>
                      <a:pt x="1735" y="117"/>
                    </a:lnTo>
                    <a:lnTo>
                      <a:pt x="1758" y="93"/>
                    </a:lnTo>
                    <a:lnTo>
                      <a:pt x="1782" y="72"/>
                    </a:lnTo>
                    <a:lnTo>
                      <a:pt x="1808" y="53"/>
                    </a:lnTo>
                    <a:lnTo>
                      <a:pt x="1837" y="37"/>
                    </a:lnTo>
                    <a:lnTo>
                      <a:pt x="1866" y="23"/>
                    </a:lnTo>
                    <a:lnTo>
                      <a:pt x="1896" y="14"/>
                    </a:lnTo>
                    <a:lnTo>
                      <a:pt x="1928" y="6"/>
                    </a:lnTo>
                    <a:lnTo>
                      <a:pt x="1959" y="2"/>
                    </a:lnTo>
                    <a:lnTo>
                      <a:pt x="1990" y="0"/>
                    </a:lnTo>
                    <a:lnTo>
                      <a:pt x="2021" y="3"/>
                    </a:lnTo>
                    <a:lnTo>
                      <a:pt x="2051" y="7"/>
                    </a:lnTo>
                    <a:lnTo>
                      <a:pt x="2080" y="16"/>
                    </a:lnTo>
                    <a:lnTo>
                      <a:pt x="2108" y="28"/>
                    </a:lnTo>
                    <a:lnTo>
                      <a:pt x="2134" y="44"/>
                    </a:lnTo>
                    <a:lnTo>
                      <a:pt x="2158" y="63"/>
                    </a:lnTo>
                    <a:lnTo>
                      <a:pt x="2181" y="86"/>
                    </a:lnTo>
                    <a:lnTo>
                      <a:pt x="2200" y="113"/>
                    </a:lnTo>
                    <a:lnTo>
                      <a:pt x="2217" y="144"/>
                    </a:lnTo>
                    <a:lnTo>
                      <a:pt x="2230" y="178"/>
                    </a:lnTo>
                    <a:lnTo>
                      <a:pt x="2239" y="218"/>
                    </a:lnTo>
                    <a:lnTo>
                      <a:pt x="2275" y="408"/>
                    </a:lnTo>
                    <a:lnTo>
                      <a:pt x="2305" y="600"/>
                    </a:lnTo>
                    <a:lnTo>
                      <a:pt x="2330" y="792"/>
                    </a:lnTo>
                    <a:lnTo>
                      <a:pt x="2351" y="985"/>
                    </a:lnTo>
                    <a:lnTo>
                      <a:pt x="2367" y="1178"/>
                    </a:lnTo>
                    <a:lnTo>
                      <a:pt x="2377" y="1372"/>
                    </a:lnTo>
                    <a:lnTo>
                      <a:pt x="2376" y="1413"/>
                    </a:lnTo>
                    <a:lnTo>
                      <a:pt x="2372" y="1450"/>
                    </a:lnTo>
                    <a:lnTo>
                      <a:pt x="2362" y="1484"/>
                    </a:lnTo>
                    <a:lnTo>
                      <a:pt x="2349" y="1515"/>
                    </a:lnTo>
                    <a:lnTo>
                      <a:pt x="2333" y="1543"/>
                    </a:lnTo>
                    <a:lnTo>
                      <a:pt x="2336" y="1563"/>
                    </a:lnTo>
                    <a:lnTo>
                      <a:pt x="2337" y="1584"/>
                    </a:lnTo>
                    <a:lnTo>
                      <a:pt x="2337" y="2608"/>
                    </a:lnTo>
                    <a:lnTo>
                      <a:pt x="2334" y="2640"/>
                    </a:lnTo>
                    <a:lnTo>
                      <a:pt x="2327" y="2669"/>
                    </a:lnTo>
                    <a:lnTo>
                      <a:pt x="2315" y="2695"/>
                    </a:lnTo>
                    <a:lnTo>
                      <a:pt x="2300" y="2717"/>
                    </a:lnTo>
                    <a:lnTo>
                      <a:pt x="2282" y="2736"/>
                    </a:lnTo>
                    <a:lnTo>
                      <a:pt x="2261" y="2751"/>
                    </a:lnTo>
                    <a:lnTo>
                      <a:pt x="2238" y="2763"/>
                    </a:lnTo>
                    <a:lnTo>
                      <a:pt x="2213" y="2772"/>
                    </a:lnTo>
                    <a:lnTo>
                      <a:pt x="2189" y="2776"/>
                    </a:lnTo>
                    <a:lnTo>
                      <a:pt x="2163" y="2779"/>
                    </a:lnTo>
                    <a:lnTo>
                      <a:pt x="2137" y="2776"/>
                    </a:lnTo>
                    <a:lnTo>
                      <a:pt x="2111" y="2772"/>
                    </a:lnTo>
                    <a:lnTo>
                      <a:pt x="2086" y="2763"/>
                    </a:lnTo>
                    <a:lnTo>
                      <a:pt x="2063" y="2751"/>
                    </a:lnTo>
                    <a:lnTo>
                      <a:pt x="2042" y="2736"/>
                    </a:lnTo>
                    <a:lnTo>
                      <a:pt x="2024" y="2717"/>
                    </a:lnTo>
                    <a:lnTo>
                      <a:pt x="2009" y="2695"/>
                    </a:lnTo>
                    <a:lnTo>
                      <a:pt x="1998" y="2669"/>
                    </a:lnTo>
                    <a:lnTo>
                      <a:pt x="1990" y="2640"/>
                    </a:lnTo>
                    <a:lnTo>
                      <a:pt x="1988" y="2608"/>
                    </a:lnTo>
                    <a:lnTo>
                      <a:pt x="1988" y="1641"/>
                    </a:lnTo>
                    <a:lnTo>
                      <a:pt x="1957" y="1627"/>
                    </a:lnTo>
                    <a:lnTo>
                      <a:pt x="1926" y="1612"/>
                    </a:lnTo>
                    <a:lnTo>
                      <a:pt x="1898" y="1592"/>
                    </a:lnTo>
                    <a:lnTo>
                      <a:pt x="1873" y="1570"/>
                    </a:lnTo>
                    <a:lnTo>
                      <a:pt x="1850" y="1545"/>
                    </a:lnTo>
                    <a:lnTo>
                      <a:pt x="1830" y="1516"/>
                    </a:lnTo>
                    <a:lnTo>
                      <a:pt x="1814" y="1484"/>
                    </a:lnTo>
                    <a:lnTo>
                      <a:pt x="1801" y="1449"/>
                    </a:lnTo>
                    <a:lnTo>
                      <a:pt x="1792" y="1410"/>
                    </a:lnTo>
                    <a:lnTo>
                      <a:pt x="1788" y="1368"/>
                    </a:lnTo>
                    <a:lnTo>
                      <a:pt x="1776" y="1159"/>
                    </a:lnTo>
                    <a:lnTo>
                      <a:pt x="1758" y="952"/>
                    </a:lnTo>
                    <a:lnTo>
                      <a:pt x="1733" y="746"/>
                    </a:lnTo>
                    <a:lnTo>
                      <a:pt x="1663" y="829"/>
                    </a:lnTo>
                    <a:lnTo>
                      <a:pt x="1591" y="910"/>
                    </a:lnTo>
                    <a:lnTo>
                      <a:pt x="1515" y="988"/>
                    </a:lnTo>
                    <a:lnTo>
                      <a:pt x="1436" y="1063"/>
                    </a:lnTo>
                    <a:lnTo>
                      <a:pt x="1353" y="1136"/>
                    </a:lnTo>
                    <a:lnTo>
                      <a:pt x="1341" y="1162"/>
                    </a:lnTo>
                    <a:lnTo>
                      <a:pt x="1325" y="1185"/>
                    </a:lnTo>
                    <a:lnTo>
                      <a:pt x="1308" y="1205"/>
                    </a:lnTo>
                    <a:lnTo>
                      <a:pt x="1288" y="1222"/>
                    </a:lnTo>
                    <a:lnTo>
                      <a:pt x="1265" y="1235"/>
                    </a:lnTo>
                    <a:lnTo>
                      <a:pt x="1241" y="1244"/>
                    </a:lnTo>
                    <a:lnTo>
                      <a:pt x="1215" y="1247"/>
                    </a:lnTo>
                    <a:lnTo>
                      <a:pt x="1189" y="1245"/>
                    </a:lnTo>
                    <a:lnTo>
                      <a:pt x="1162" y="1247"/>
                    </a:lnTo>
                    <a:lnTo>
                      <a:pt x="1136" y="1244"/>
                    </a:lnTo>
                    <a:lnTo>
                      <a:pt x="1112" y="1235"/>
                    </a:lnTo>
                    <a:lnTo>
                      <a:pt x="1089" y="1222"/>
                    </a:lnTo>
                    <a:lnTo>
                      <a:pt x="1070" y="1205"/>
                    </a:lnTo>
                    <a:lnTo>
                      <a:pt x="1051" y="1185"/>
                    </a:lnTo>
                    <a:lnTo>
                      <a:pt x="1036" y="1162"/>
                    </a:lnTo>
                    <a:lnTo>
                      <a:pt x="1024" y="1136"/>
                    </a:lnTo>
                    <a:lnTo>
                      <a:pt x="942" y="1063"/>
                    </a:lnTo>
                    <a:lnTo>
                      <a:pt x="862" y="988"/>
                    </a:lnTo>
                    <a:lnTo>
                      <a:pt x="786" y="910"/>
                    </a:lnTo>
                    <a:lnTo>
                      <a:pt x="714" y="829"/>
                    </a:lnTo>
                    <a:lnTo>
                      <a:pt x="644" y="746"/>
                    </a:lnTo>
                    <a:lnTo>
                      <a:pt x="619" y="953"/>
                    </a:lnTo>
                    <a:lnTo>
                      <a:pt x="601" y="1163"/>
                    </a:lnTo>
                    <a:lnTo>
                      <a:pt x="589" y="1372"/>
                    </a:lnTo>
                    <a:lnTo>
                      <a:pt x="586" y="1414"/>
                    </a:lnTo>
                    <a:lnTo>
                      <a:pt x="577" y="1452"/>
                    </a:lnTo>
                    <a:lnTo>
                      <a:pt x="564" y="1488"/>
                    </a:lnTo>
                    <a:lnTo>
                      <a:pt x="547" y="1520"/>
                    </a:lnTo>
                    <a:lnTo>
                      <a:pt x="527" y="1549"/>
                    </a:lnTo>
                    <a:lnTo>
                      <a:pt x="505" y="1574"/>
                    </a:lnTo>
                    <a:lnTo>
                      <a:pt x="479" y="1596"/>
                    </a:lnTo>
                    <a:lnTo>
                      <a:pt x="450" y="1614"/>
                    </a:lnTo>
                    <a:lnTo>
                      <a:pt x="421" y="1630"/>
                    </a:lnTo>
                    <a:lnTo>
                      <a:pt x="390" y="1642"/>
                    </a:lnTo>
                    <a:lnTo>
                      <a:pt x="390" y="2608"/>
                    </a:lnTo>
                    <a:lnTo>
                      <a:pt x="387" y="2640"/>
                    </a:lnTo>
                    <a:lnTo>
                      <a:pt x="380" y="2669"/>
                    </a:lnTo>
                    <a:lnTo>
                      <a:pt x="368" y="2695"/>
                    </a:lnTo>
                    <a:lnTo>
                      <a:pt x="353" y="2717"/>
                    </a:lnTo>
                    <a:lnTo>
                      <a:pt x="335" y="2736"/>
                    </a:lnTo>
                    <a:lnTo>
                      <a:pt x="314" y="2751"/>
                    </a:lnTo>
                    <a:lnTo>
                      <a:pt x="291" y="2763"/>
                    </a:lnTo>
                    <a:lnTo>
                      <a:pt x="266" y="2772"/>
                    </a:lnTo>
                    <a:lnTo>
                      <a:pt x="241" y="2776"/>
                    </a:lnTo>
                    <a:lnTo>
                      <a:pt x="215" y="2779"/>
                    </a:lnTo>
                    <a:lnTo>
                      <a:pt x="190" y="2776"/>
                    </a:lnTo>
                    <a:lnTo>
                      <a:pt x="164" y="2772"/>
                    </a:lnTo>
                    <a:lnTo>
                      <a:pt x="139" y="2763"/>
                    </a:lnTo>
                    <a:lnTo>
                      <a:pt x="116" y="2751"/>
                    </a:lnTo>
                    <a:lnTo>
                      <a:pt x="95" y="2736"/>
                    </a:lnTo>
                    <a:lnTo>
                      <a:pt x="77" y="2717"/>
                    </a:lnTo>
                    <a:lnTo>
                      <a:pt x="62" y="2695"/>
                    </a:lnTo>
                    <a:lnTo>
                      <a:pt x="51" y="2669"/>
                    </a:lnTo>
                    <a:lnTo>
                      <a:pt x="43" y="2640"/>
                    </a:lnTo>
                    <a:lnTo>
                      <a:pt x="41" y="2608"/>
                    </a:lnTo>
                    <a:lnTo>
                      <a:pt x="41" y="1584"/>
                    </a:lnTo>
                    <a:lnTo>
                      <a:pt x="42" y="1562"/>
                    </a:lnTo>
                    <a:lnTo>
                      <a:pt x="45" y="1541"/>
                    </a:lnTo>
                    <a:lnTo>
                      <a:pt x="29" y="1512"/>
                    </a:lnTo>
                    <a:lnTo>
                      <a:pt x="16" y="1481"/>
                    </a:lnTo>
                    <a:lnTo>
                      <a:pt x="6" y="1447"/>
                    </a:lnTo>
                    <a:lnTo>
                      <a:pt x="1" y="1408"/>
                    </a:lnTo>
                    <a:lnTo>
                      <a:pt x="0" y="1368"/>
                    </a:lnTo>
                    <a:lnTo>
                      <a:pt x="11" y="1175"/>
                    </a:lnTo>
                    <a:lnTo>
                      <a:pt x="26" y="982"/>
                    </a:lnTo>
                    <a:lnTo>
                      <a:pt x="47" y="789"/>
                    </a:lnTo>
                    <a:lnTo>
                      <a:pt x="73" y="597"/>
                    </a:lnTo>
                    <a:lnTo>
                      <a:pt x="103" y="406"/>
                    </a:lnTo>
                    <a:lnTo>
                      <a:pt x="138" y="215"/>
                    </a:lnTo>
                    <a:lnTo>
                      <a:pt x="147" y="177"/>
                    </a:lnTo>
                    <a:lnTo>
                      <a:pt x="160" y="143"/>
                    </a:lnTo>
                    <a:lnTo>
                      <a:pt x="177" y="112"/>
                    </a:lnTo>
                    <a:lnTo>
                      <a:pt x="196" y="85"/>
                    </a:lnTo>
                    <a:lnTo>
                      <a:pt x="218" y="63"/>
                    </a:lnTo>
                    <a:lnTo>
                      <a:pt x="243" y="43"/>
                    </a:lnTo>
                    <a:lnTo>
                      <a:pt x="269" y="28"/>
                    </a:lnTo>
                    <a:lnTo>
                      <a:pt x="296" y="16"/>
                    </a:lnTo>
                    <a:lnTo>
                      <a:pt x="325" y="7"/>
                    </a:lnTo>
                    <a:lnTo>
                      <a:pt x="355" y="2"/>
                    </a:lnTo>
                    <a:lnTo>
                      <a:pt x="386" y="0"/>
                    </a:lnTo>
                    <a:close/>
                  </a:path>
                </a:pathLst>
              </a:custGeom>
              <a:solidFill>
                <a:srgbClr val="D9408D"/>
              </a:solidFill>
              <a:ln w="0">
                <a:solidFill>
                  <a:srgbClr val="D9408D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1" dirty="0"/>
              </a:p>
            </p:txBody>
          </p:sp>
          <p:sp>
            <p:nvSpPr>
              <p:cNvPr id="75" name="Freeform 245">
                <a:extLst>
                  <a:ext uri="{FF2B5EF4-FFF2-40B4-BE49-F238E27FC236}">
                    <a16:creationId xmlns:a16="http://schemas.microsoft.com/office/drawing/2014/main" id="{EFCFD0C0-7F7F-A945-A165-64D854A80BD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58332" y="3738534"/>
                <a:ext cx="73705" cy="75724"/>
              </a:xfrm>
              <a:custGeom>
                <a:avLst/>
                <a:gdLst>
                  <a:gd name="T0" fmla="*/ 332 w 663"/>
                  <a:gd name="T1" fmla="*/ 0 h 670"/>
                  <a:gd name="T2" fmla="*/ 377 w 663"/>
                  <a:gd name="T3" fmla="*/ 2 h 670"/>
                  <a:gd name="T4" fmla="*/ 420 w 663"/>
                  <a:gd name="T5" fmla="*/ 12 h 670"/>
                  <a:gd name="T6" fmla="*/ 461 w 663"/>
                  <a:gd name="T7" fmla="*/ 26 h 670"/>
                  <a:gd name="T8" fmla="*/ 499 w 663"/>
                  <a:gd name="T9" fmla="*/ 45 h 670"/>
                  <a:gd name="T10" fmla="*/ 534 w 663"/>
                  <a:gd name="T11" fmla="*/ 69 h 670"/>
                  <a:gd name="T12" fmla="*/ 566 w 663"/>
                  <a:gd name="T13" fmla="*/ 97 h 670"/>
                  <a:gd name="T14" fmla="*/ 594 w 663"/>
                  <a:gd name="T15" fmla="*/ 130 h 670"/>
                  <a:gd name="T16" fmla="*/ 618 w 663"/>
                  <a:gd name="T17" fmla="*/ 165 h 670"/>
                  <a:gd name="T18" fmla="*/ 637 w 663"/>
                  <a:gd name="T19" fmla="*/ 204 h 670"/>
                  <a:gd name="T20" fmla="*/ 651 w 663"/>
                  <a:gd name="T21" fmla="*/ 245 h 670"/>
                  <a:gd name="T22" fmla="*/ 660 w 663"/>
                  <a:gd name="T23" fmla="*/ 289 h 670"/>
                  <a:gd name="T24" fmla="*/ 663 w 663"/>
                  <a:gd name="T25" fmla="*/ 335 h 670"/>
                  <a:gd name="T26" fmla="*/ 660 w 663"/>
                  <a:gd name="T27" fmla="*/ 380 h 670"/>
                  <a:gd name="T28" fmla="*/ 651 w 663"/>
                  <a:gd name="T29" fmla="*/ 424 h 670"/>
                  <a:gd name="T30" fmla="*/ 637 w 663"/>
                  <a:gd name="T31" fmla="*/ 466 h 670"/>
                  <a:gd name="T32" fmla="*/ 618 w 663"/>
                  <a:gd name="T33" fmla="*/ 504 h 670"/>
                  <a:gd name="T34" fmla="*/ 594 w 663"/>
                  <a:gd name="T35" fmla="*/ 539 h 670"/>
                  <a:gd name="T36" fmla="*/ 566 w 663"/>
                  <a:gd name="T37" fmla="*/ 572 h 670"/>
                  <a:gd name="T38" fmla="*/ 534 w 663"/>
                  <a:gd name="T39" fmla="*/ 601 h 670"/>
                  <a:gd name="T40" fmla="*/ 499 w 663"/>
                  <a:gd name="T41" fmla="*/ 625 h 670"/>
                  <a:gd name="T42" fmla="*/ 461 w 663"/>
                  <a:gd name="T43" fmla="*/ 643 h 670"/>
                  <a:gd name="T44" fmla="*/ 420 w 663"/>
                  <a:gd name="T45" fmla="*/ 658 h 670"/>
                  <a:gd name="T46" fmla="*/ 377 w 663"/>
                  <a:gd name="T47" fmla="*/ 667 h 670"/>
                  <a:gd name="T48" fmla="*/ 332 w 663"/>
                  <a:gd name="T49" fmla="*/ 670 h 670"/>
                  <a:gd name="T50" fmla="*/ 286 w 663"/>
                  <a:gd name="T51" fmla="*/ 667 h 670"/>
                  <a:gd name="T52" fmla="*/ 244 w 663"/>
                  <a:gd name="T53" fmla="*/ 658 h 670"/>
                  <a:gd name="T54" fmla="*/ 203 w 663"/>
                  <a:gd name="T55" fmla="*/ 643 h 670"/>
                  <a:gd name="T56" fmla="*/ 165 w 663"/>
                  <a:gd name="T57" fmla="*/ 625 h 670"/>
                  <a:gd name="T58" fmla="*/ 129 w 663"/>
                  <a:gd name="T59" fmla="*/ 601 h 670"/>
                  <a:gd name="T60" fmla="*/ 98 w 663"/>
                  <a:gd name="T61" fmla="*/ 572 h 670"/>
                  <a:gd name="T62" fmla="*/ 70 w 663"/>
                  <a:gd name="T63" fmla="*/ 539 h 670"/>
                  <a:gd name="T64" fmla="*/ 46 w 663"/>
                  <a:gd name="T65" fmla="*/ 504 h 670"/>
                  <a:gd name="T66" fmla="*/ 26 w 663"/>
                  <a:gd name="T67" fmla="*/ 466 h 670"/>
                  <a:gd name="T68" fmla="*/ 12 w 663"/>
                  <a:gd name="T69" fmla="*/ 424 h 670"/>
                  <a:gd name="T70" fmla="*/ 4 w 663"/>
                  <a:gd name="T71" fmla="*/ 380 h 670"/>
                  <a:gd name="T72" fmla="*/ 0 w 663"/>
                  <a:gd name="T73" fmla="*/ 335 h 670"/>
                  <a:gd name="T74" fmla="*/ 4 w 663"/>
                  <a:gd name="T75" fmla="*/ 289 h 670"/>
                  <a:gd name="T76" fmla="*/ 12 w 663"/>
                  <a:gd name="T77" fmla="*/ 245 h 670"/>
                  <a:gd name="T78" fmla="*/ 26 w 663"/>
                  <a:gd name="T79" fmla="*/ 204 h 670"/>
                  <a:gd name="T80" fmla="*/ 46 w 663"/>
                  <a:gd name="T81" fmla="*/ 165 h 670"/>
                  <a:gd name="T82" fmla="*/ 70 w 663"/>
                  <a:gd name="T83" fmla="*/ 130 h 670"/>
                  <a:gd name="T84" fmla="*/ 98 w 663"/>
                  <a:gd name="T85" fmla="*/ 97 h 670"/>
                  <a:gd name="T86" fmla="*/ 129 w 663"/>
                  <a:gd name="T87" fmla="*/ 69 h 670"/>
                  <a:gd name="T88" fmla="*/ 165 w 663"/>
                  <a:gd name="T89" fmla="*/ 45 h 670"/>
                  <a:gd name="T90" fmla="*/ 203 w 663"/>
                  <a:gd name="T91" fmla="*/ 26 h 670"/>
                  <a:gd name="T92" fmla="*/ 244 w 663"/>
                  <a:gd name="T93" fmla="*/ 12 h 670"/>
                  <a:gd name="T94" fmla="*/ 286 w 663"/>
                  <a:gd name="T95" fmla="*/ 2 h 670"/>
                  <a:gd name="T96" fmla="*/ 332 w 663"/>
                  <a:gd name="T97" fmla="*/ 0 h 6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663" h="670">
                    <a:moveTo>
                      <a:pt x="332" y="0"/>
                    </a:moveTo>
                    <a:lnTo>
                      <a:pt x="377" y="2"/>
                    </a:lnTo>
                    <a:lnTo>
                      <a:pt x="420" y="12"/>
                    </a:lnTo>
                    <a:lnTo>
                      <a:pt x="461" y="26"/>
                    </a:lnTo>
                    <a:lnTo>
                      <a:pt x="499" y="45"/>
                    </a:lnTo>
                    <a:lnTo>
                      <a:pt x="534" y="69"/>
                    </a:lnTo>
                    <a:lnTo>
                      <a:pt x="566" y="97"/>
                    </a:lnTo>
                    <a:lnTo>
                      <a:pt x="594" y="130"/>
                    </a:lnTo>
                    <a:lnTo>
                      <a:pt x="618" y="165"/>
                    </a:lnTo>
                    <a:lnTo>
                      <a:pt x="637" y="204"/>
                    </a:lnTo>
                    <a:lnTo>
                      <a:pt x="651" y="245"/>
                    </a:lnTo>
                    <a:lnTo>
                      <a:pt x="660" y="289"/>
                    </a:lnTo>
                    <a:lnTo>
                      <a:pt x="663" y="335"/>
                    </a:lnTo>
                    <a:lnTo>
                      <a:pt x="660" y="380"/>
                    </a:lnTo>
                    <a:lnTo>
                      <a:pt x="651" y="424"/>
                    </a:lnTo>
                    <a:lnTo>
                      <a:pt x="637" y="466"/>
                    </a:lnTo>
                    <a:lnTo>
                      <a:pt x="618" y="504"/>
                    </a:lnTo>
                    <a:lnTo>
                      <a:pt x="594" y="539"/>
                    </a:lnTo>
                    <a:lnTo>
                      <a:pt x="566" y="572"/>
                    </a:lnTo>
                    <a:lnTo>
                      <a:pt x="534" y="601"/>
                    </a:lnTo>
                    <a:lnTo>
                      <a:pt x="499" y="625"/>
                    </a:lnTo>
                    <a:lnTo>
                      <a:pt x="461" y="643"/>
                    </a:lnTo>
                    <a:lnTo>
                      <a:pt x="420" y="658"/>
                    </a:lnTo>
                    <a:lnTo>
                      <a:pt x="377" y="667"/>
                    </a:lnTo>
                    <a:lnTo>
                      <a:pt x="332" y="670"/>
                    </a:lnTo>
                    <a:lnTo>
                      <a:pt x="286" y="667"/>
                    </a:lnTo>
                    <a:lnTo>
                      <a:pt x="244" y="658"/>
                    </a:lnTo>
                    <a:lnTo>
                      <a:pt x="203" y="643"/>
                    </a:lnTo>
                    <a:lnTo>
                      <a:pt x="165" y="625"/>
                    </a:lnTo>
                    <a:lnTo>
                      <a:pt x="129" y="601"/>
                    </a:lnTo>
                    <a:lnTo>
                      <a:pt x="98" y="572"/>
                    </a:lnTo>
                    <a:lnTo>
                      <a:pt x="70" y="539"/>
                    </a:lnTo>
                    <a:lnTo>
                      <a:pt x="46" y="504"/>
                    </a:lnTo>
                    <a:lnTo>
                      <a:pt x="26" y="466"/>
                    </a:lnTo>
                    <a:lnTo>
                      <a:pt x="12" y="424"/>
                    </a:lnTo>
                    <a:lnTo>
                      <a:pt x="4" y="380"/>
                    </a:lnTo>
                    <a:lnTo>
                      <a:pt x="0" y="335"/>
                    </a:lnTo>
                    <a:lnTo>
                      <a:pt x="4" y="289"/>
                    </a:lnTo>
                    <a:lnTo>
                      <a:pt x="12" y="245"/>
                    </a:lnTo>
                    <a:lnTo>
                      <a:pt x="26" y="204"/>
                    </a:lnTo>
                    <a:lnTo>
                      <a:pt x="46" y="165"/>
                    </a:lnTo>
                    <a:lnTo>
                      <a:pt x="70" y="130"/>
                    </a:lnTo>
                    <a:lnTo>
                      <a:pt x="98" y="97"/>
                    </a:lnTo>
                    <a:lnTo>
                      <a:pt x="129" y="69"/>
                    </a:lnTo>
                    <a:lnTo>
                      <a:pt x="165" y="45"/>
                    </a:lnTo>
                    <a:lnTo>
                      <a:pt x="203" y="26"/>
                    </a:lnTo>
                    <a:lnTo>
                      <a:pt x="244" y="12"/>
                    </a:lnTo>
                    <a:lnTo>
                      <a:pt x="286" y="2"/>
                    </a:lnTo>
                    <a:lnTo>
                      <a:pt x="332" y="0"/>
                    </a:lnTo>
                    <a:close/>
                  </a:path>
                </a:pathLst>
              </a:custGeom>
              <a:solidFill>
                <a:srgbClr val="D9408D"/>
              </a:solidFill>
              <a:ln w="0">
                <a:solidFill>
                  <a:srgbClr val="D9408D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1" dirty="0"/>
              </a:p>
            </p:txBody>
          </p:sp>
        </p:grpSp>
      </p:grpSp>
      <p:sp>
        <p:nvSpPr>
          <p:cNvPr id="76" name="TextBox 70">
            <a:extLst>
              <a:ext uri="{FF2B5EF4-FFF2-40B4-BE49-F238E27FC236}">
                <a16:creationId xmlns:a16="http://schemas.microsoft.com/office/drawing/2014/main" id="{4C956F15-97D1-CF42-88FF-426FD6A0735A}"/>
              </a:ext>
            </a:extLst>
          </p:cNvPr>
          <p:cNvSpPr txBox="1"/>
          <p:nvPr/>
        </p:nvSpPr>
        <p:spPr>
          <a:xfrm>
            <a:off x="4148409" y="4524925"/>
            <a:ext cx="1457289" cy="58496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09585"/>
            <a:r>
              <a:rPr lang="fr-FR" sz="1067" dirty="0">
                <a:solidFill>
                  <a:prstClr val="black">
                    <a:lumMod val="95000"/>
                    <a:lumOff val="5000"/>
                  </a:prstClr>
                </a:solidFill>
                <a:latin typeface="Marianne" panose="02000000000000000000" pitchFamily="2" charset="0"/>
              </a:rPr>
              <a:t>Réservation sur </a:t>
            </a:r>
            <a:r>
              <a:rPr lang="fr-FR" sz="1067" dirty="0" smtClean="0">
                <a:solidFill>
                  <a:prstClr val="black">
                    <a:lumMod val="95000"/>
                    <a:lumOff val="5000"/>
                  </a:prstClr>
                </a:solidFill>
                <a:latin typeface="Marianne" panose="02000000000000000000" pitchFamily="2" charset="0"/>
              </a:rPr>
              <a:t>X </a:t>
            </a:r>
            <a:r>
              <a:rPr lang="fr-FR" sz="1067" dirty="0">
                <a:solidFill>
                  <a:prstClr val="black">
                    <a:lumMod val="95000"/>
                    <a:lumOff val="5000"/>
                  </a:prstClr>
                </a:solidFill>
                <a:latin typeface="Marianne" panose="02000000000000000000" pitchFamily="2" charset="0"/>
              </a:rPr>
              <a:t>ans par un autre réservataire</a:t>
            </a:r>
            <a:endParaRPr lang="fr-FR" sz="1067" dirty="0">
              <a:solidFill>
                <a:srgbClr val="7FCECD"/>
              </a:solidFill>
              <a:latin typeface="Marianne" panose="02000000000000000000" pitchFamily="2" charset="0"/>
            </a:endParaRPr>
          </a:p>
        </p:txBody>
      </p:sp>
      <p:sp>
        <p:nvSpPr>
          <p:cNvPr id="80" name="TextBox 70">
            <a:extLst>
              <a:ext uri="{FF2B5EF4-FFF2-40B4-BE49-F238E27FC236}">
                <a16:creationId xmlns:a16="http://schemas.microsoft.com/office/drawing/2014/main" id="{F3C25B3A-0C0A-A148-B755-546BFAB099E2}"/>
              </a:ext>
            </a:extLst>
          </p:cNvPr>
          <p:cNvSpPr txBox="1"/>
          <p:nvPr/>
        </p:nvSpPr>
        <p:spPr>
          <a:xfrm>
            <a:off x="1673337" y="1513792"/>
            <a:ext cx="299102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09585"/>
            <a:r>
              <a:rPr lang="fr-FR" sz="1600" b="1" dirty="0">
                <a:solidFill>
                  <a:prstClr val="black">
                    <a:lumMod val="95000"/>
                    <a:lumOff val="5000"/>
                  </a:prstClr>
                </a:solidFill>
                <a:latin typeface="Marianne" panose="02000000000000000000" pitchFamily="2" charset="0"/>
              </a:rPr>
              <a:t>Aujourd’hui, en gestion en stock</a:t>
            </a:r>
            <a:endParaRPr lang="fr-FR" sz="1600" b="1" dirty="0">
              <a:solidFill>
                <a:srgbClr val="7FCECD"/>
              </a:solidFill>
              <a:latin typeface="Marianne" panose="02000000000000000000" pitchFamily="2" charset="0"/>
            </a:endParaRPr>
          </a:p>
        </p:txBody>
      </p:sp>
      <p:cxnSp>
        <p:nvCxnSpPr>
          <p:cNvPr id="5" name="Connecteur droit avec flèche 4">
            <a:extLst>
              <a:ext uri="{FF2B5EF4-FFF2-40B4-BE49-F238E27FC236}">
                <a16:creationId xmlns:a16="http://schemas.microsoft.com/office/drawing/2014/main" id="{CA7829E2-7BB3-BF48-A031-A4F3A08287B8}"/>
              </a:ext>
            </a:extLst>
          </p:cNvPr>
          <p:cNvCxnSpPr>
            <a:cxnSpLocks/>
          </p:cNvCxnSpPr>
          <p:nvPr/>
        </p:nvCxnSpPr>
        <p:spPr>
          <a:xfrm>
            <a:off x="5849124" y="3842089"/>
            <a:ext cx="1536171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" name="Freeform 34">
            <a:extLst>
              <a:ext uri="{FF2B5EF4-FFF2-40B4-BE49-F238E27FC236}">
                <a16:creationId xmlns:a16="http://schemas.microsoft.com/office/drawing/2014/main" id="{402C57FB-8C3D-8240-B2BE-30ACDAFD90DA}"/>
              </a:ext>
            </a:extLst>
          </p:cNvPr>
          <p:cNvSpPr>
            <a:spLocks/>
          </p:cNvSpPr>
          <p:nvPr/>
        </p:nvSpPr>
        <p:spPr bwMode="auto">
          <a:xfrm>
            <a:off x="7828011" y="2976503"/>
            <a:ext cx="2012159" cy="361951"/>
          </a:xfrm>
          <a:custGeom>
            <a:avLst/>
            <a:gdLst>
              <a:gd name="T0" fmla="*/ 730 w 810"/>
              <a:gd name="T1" fmla="*/ 228 h 228"/>
              <a:gd name="T2" fmla="*/ 0 w 810"/>
              <a:gd name="T3" fmla="*/ 228 h 228"/>
              <a:gd name="T4" fmla="*/ 89 w 810"/>
              <a:gd name="T5" fmla="*/ 0 h 228"/>
              <a:gd name="T6" fmla="*/ 810 w 810"/>
              <a:gd name="T7" fmla="*/ 0 h 228"/>
              <a:gd name="T8" fmla="*/ 730 w 810"/>
              <a:gd name="T9" fmla="*/ 228 h 2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810" h="228">
                <a:moveTo>
                  <a:pt x="730" y="228"/>
                </a:moveTo>
                <a:lnTo>
                  <a:pt x="0" y="228"/>
                </a:lnTo>
                <a:lnTo>
                  <a:pt x="89" y="0"/>
                </a:lnTo>
                <a:lnTo>
                  <a:pt x="810" y="0"/>
                </a:lnTo>
                <a:lnTo>
                  <a:pt x="730" y="228"/>
                </a:lnTo>
                <a:close/>
              </a:path>
            </a:pathLst>
          </a:custGeom>
          <a:solidFill>
            <a:srgbClr val="1D967F"/>
          </a:solidFill>
          <a:ln>
            <a:solidFill>
              <a:srgbClr val="1D967F"/>
            </a:solidFill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1333" dirty="0">
                <a:solidFill>
                  <a:schemeClr val="bg1"/>
                </a:solidFill>
                <a:latin typeface="Marianne" panose="02000000000000000000" pitchFamily="2" charset="0"/>
              </a:rPr>
              <a:t>Flux Etat = 30 %</a:t>
            </a:r>
          </a:p>
        </p:txBody>
      </p:sp>
      <p:sp>
        <p:nvSpPr>
          <p:cNvPr id="86" name="Freeform 34">
            <a:extLst>
              <a:ext uri="{FF2B5EF4-FFF2-40B4-BE49-F238E27FC236}">
                <a16:creationId xmlns:a16="http://schemas.microsoft.com/office/drawing/2014/main" id="{82D370BC-3FBE-534E-AC96-8342356C5150}"/>
              </a:ext>
            </a:extLst>
          </p:cNvPr>
          <p:cNvSpPr>
            <a:spLocks/>
          </p:cNvSpPr>
          <p:nvPr/>
        </p:nvSpPr>
        <p:spPr bwMode="auto">
          <a:xfrm>
            <a:off x="7828011" y="3472602"/>
            <a:ext cx="2012159" cy="361951"/>
          </a:xfrm>
          <a:custGeom>
            <a:avLst/>
            <a:gdLst>
              <a:gd name="T0" fmla="*/ 730 w 810"/>
              <a:gd name="T1" fmla="*/ 228 h 228"/>
              <a:gd name="T2" fmla="*/ 0 w 810"/>
              <a:gd name="T3" fmla="*/ 228 h 228"/>
              <a:gd name="T4" fmla="*/ 89 w 810"/>
              <a:gd name="T5" fmla="*/ 0 h 228"/>
              <a:gd name="T6" fmla="*/ 810 w 810"/>
              <a:gd name="T7" fmla="*/ 0 h 228"/>
              <a:gd name="T8" fmla="*/ 730 w 810"/>
              <a:gd name="T9" fmla="*/ 228 h 2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810" h="228">
                <a:moveTo>
                  <a:pt x="730" y="228"/>
                </a:moveTo>
                <a:lnTo>
                  <a:pt x="0" y="228"/>
                </a:lnTo>
                <a:lnTo>
                  <a:pt x="89" y="0"/>
                </a:lnTo>
                <a:lnTo>
                  <a:pt x="810" y="0"/>
                </a:lnTo>
                <a:lnTo>
                  <a:pt x="730" y="228"/>
                </a:lnTo>
                <a:close/>
              </a:path>
            </a:pathLst>
          </a:custGeom>
          <a:solidFill>
            <a:srgbClr val="0070C0"/>
          </a:solidFill>
          <a:ln>
            <a:solidFill>
              <a:srgbClr val="0070C0"/>
            </a:solidFill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1200" dirty="0">
                <a:solidFill>
                  <a:schemeClr val="bg1"/>
                </a:solidFill>
                <a:latin typeface="Marianne" panose="02000000000000000000" pitchFamily="2" charset="0"/>
              </a:rPr>
              <a:t>Flux commune = X %</a:t>
            </a:r>
          </a:p>
        </p:txBody>
      </p:sp>
      <p:sp>
        <p:nvSpPr>
          <p:cNvPr id="87" name="Freeform 34">
            <a:extLst>
              <a:ext uri="{FF2B5EF4-FFF2-40B4-BE49-F238E27FC236}">
                <a16:creationId xmlns:a16="http://schemas.microsoft.com/office/drawing/2014/main" id="{826F6426-5094-3249-B276-9700EABBDD19}"/>
              </a:ext>
            </a:extLst>
          </p:cNvPr>
          <p:cNvSpPr>
            <a:spLocks/>
          </p:cNvSpPr>
          <p:nvPr/>
        </p:nvSpPr>
        <p:spPr bwMode="auto">
          <a:xfrm>
            <a:off x="7828009" y="3980435"/>
            <a:ext cx="2012159" cy="361951"/>
          </a:xfrm>
          <a:custGeom>
            <a:avLst/>
            <a:gdLst>
              <a:gd name="T0" fmla="*/ 730 w 810"/>
              <a:gd name="T1" fmla="*/ 228 h 228"/>
              <a:gd name="T2" fmla="*/ 0 w 810"/>
              <a:gd name="T3" fmla="*/ 228 h 228"/>
              <a:gd name="T4" fmla="*/ 89 w 810"/>
              <a:gd name="T5" fmla="*/ 0 h 228"/>
              <a:gd name="T6" fmla="*/ 810 w 810"/>
              <a:gd name="T7" fmla="*/ 0 h 228"/>
              <a:gd name="T8" fmla="*/ 730 w 810"/>
              <a:gd name="T9" fmla="*/ 228 h 2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810" h="228">
                <a:moveTo>
                  <a:pt x="730" y="228"/>
                </a:moveTo>
                <a:lnTo>
                  <a:pt x="0" y="228"/>
                </a:lnTo>
                <a:lnTo>
                  <a:pt x="89" y="0"/>
                </a:lnTo>
                <a:lnTo>
                  <a:pt x="810" y="0"/>
                </a:lnTo>
                <a:lnTo>
                  <a:pt x="730" y="228"/>
                </a:lnTo>
                <a:close/>
              </a:path>
            </a:pathLst>
          </a:custGeom>
          <a:solidFill>
            <a:schemeClr val="accent6">
              <a:lumMod val="60000"/>
              <a:lumOff val="40000"/>
            </a:schemeClr>
          </a:solidFill>
          <a:ln>
            <a:solidFill>
              <a:schemeClr val="accent6">
                <a:lumMod val="60000"/>
                <a:lumOff val="40000"/>
              </a:schemeClr>
            </a:solidFill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1067" dirty="0">
                <a:solidFill>
                  <a:schemeClr val="bg1"/>
                </a:solidFill>
                <a:latin typeface="Marianne" panose="02000000000000000000" pitchFamily="2" charset="0"/>
              </a:rPr>
              <a:t>Flux </a:t>
            </a:r>
            <a:r>
              <a:rPr lang="en-US" sz="1067" dirty="0" smtClean="0">
                <a:solidFill>
                  <a:schemeClr val="bg1"/>
                </a:solidFill>
                <a:latin typeface="Marianne" panose="02000000000000000000" pitchFamily="2" charset="0"/>
              </a:rPr>
              <a:t>ALS  </a:t>
            </a:r>
            <a:r>
              <a:rPr lang="en-US" sz="1067" dirty="0">
                <a:solidFill>
                  <a:schemeClr val="bg1"/>
                </a:solidFill>
                <a:latin typeface="Marianne" panose="02000000000000000000" pitchFamily="2" charset="0"/>
              </a:rPr>
              <a:t>= X %</a:t>
            </a:r>
          </a:p>
        </p:txBody>
      </p:sp>
      <p:sp>
        <p:nvSpPr>
          <p:cNvPr id="89" name="TextBox 70">
            <a:extLst>
              <a:ext uri="{FF2B5EF4-FFF2-40B4-BE49-F238E27FC236}">
                <a16:creationId xmlns:a16="http://schemas.microsoft.com/office/drawing/2014/main" id="{60A599B0-3FB5-B14C-88EB-CEF10BF7767C}"/>
              </a:ext>
            </a:extLst>
          </p:cNvPr>
          <p:cNvSpPr txBox="1"/>
          <p:nvPr/>
        </p:nvSpPr>
        <p:spPr>
          <a:xfrm>
            <a:off x="7301699" y="1513792"/>
            <a:ext cx="250906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09585"/>
            <a:r>
              <a:rPr lang="fr-FR" sz="1600" b="1" dirty="0">
                <a:solidFill>
                  <a:prstClr val="black">
                    <a:lumMod val="95000"/>
                    <a:lumOff val="5000"/>
                  </a:prstClr>
                </a:solidFill>
                <a:latin typeface="Marianne" panose="02000000000000000000" pitchFamily="2" charset="0"/>
              </a:rPr>
              <a:t>Demain, en gestion en flux</a:t>
            </a:r>
            <a:endParaRPr lang="fr-FR" sz="1600" b="1" dirty="0">
              <a:solidFill>
                <a:srgbClr val="7FCECD"/>
              </a:solidFill>
              <a:latin typeface="Marianne" panose="02000000000000000000" pitchFamily="2" charset="0"/>
            </a:endParaRPr>
          </a:p>
        </p:txBody>
      </p:sp>
      <p:sp>
        <p:nvSpPr>
          <p:cNvPr id="90" name="Accolade fermante 89">
            <a:extLst>
              <a:ext uri="{FF2B5EF4-FFF2-40B4-BE49-F238E27FC236}">
                <a16:creationId xmlns:a16="http://schemas.microsoft.com/office/drawing/2014/main" id="{278B2200-226D-554F-91DB-7B179D5E5824}"/>
              </a:ext>
            </a:extLst>
          </p:cNvPr>
          <p:cNvSpPr/>
          <p:nvPr/>
        </p:nvSpPr>
        <p:spPr>
          <a:xfrm>
            <a:off x="10125009" y="2968062"/>
            <a:ext cx="95571" cy="1816039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fr-FR" sz="2400"/>
          </a:p>
        </p:txBody>
      </p:sp>
      <p:sp>
        <p:nvSpPr>
          <p:cNvPr id="91" name="TextBox 70">
            <a:extLst>
              <a:ext uri="{FF2B5EF4-FFF2-40B4-BE49-F238E27FC236}">
                <a16:creationId xmlns:a16="http://schemas.microsoft.com/office/drawing/2014/main" id="{B04F3D2A-9E68-7A42-8E72-7876C3885DD9}"/>
              </a:ext>
            </a:extLst>
          </p:cNvPr>
          <p:cNvSpPr txBox="1"/>
          <p:nvPr/>
        </p:nvSpPr>
        <p:spPr>
          <a:xfrm>
            <a:off x="10345803" y="3419385"/>
            <a:ext cx="1457289" cy="9133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09585"/>
            <a:r>
              <a:rPr lang="fr-FR" sz="1067" dirty="0">
                <a:solidFill>
                  <a:prstClr val="black">
                    <a:lumMod val="95000"/>
                    <a:lumOff val="5000"/>
                  </a:prstClr>
                </a:solidFill>
                <a:latin typeface="Marianne" panose="02000000000000000000" pitchFamily="2" charset="0"/>
              </a:rPr>
              <a:t>La somme des flux est égale à 100 % du volume de logements soumis au flux libérés annuellement</a:t>
            </a:r>
            <a:endParaRPr lang="fr-FR" sz="1067" dirty="0">
              <a:solidFill>
                <a:srgbClr val="7FCECD"/>
              </a:solidFill>
              <a:latin typeface="Marianne" panose="02000000000000000000" pitchFamily="2" charset="0"/>
            </a:endParaRPr>
          </a:p>
        </p:txBody>
      </p:sp>
      <p:sp>
        <p:nvSpPr>
          <p:cNvPr id="93" name="Freeform 34">
            <a:extLst>
              <a:ext uri="{FF2B5EF4-FFF2-40B4-BE49-F238E27FC236}">
                <a16:creationId xmlns:a16="http://schemas.microsoft.com/office/drawing/2014/main" id="{44A4B112-3555-434B-8869-07163D9B3ADD}"/>
              </a:ext>
            </a:extLst>
          </p:cNvPr>
          <p:cNvSpPr>
            <a:spLocks/>
          </p:cNvSpPr>
          <p:nvPr/>
        </p:nvSpPr>
        <p:spPr bwMode="auto">
          <a:xfrm>
            <a:off x="7826400" y="4476294"/>
            <a:ext cx="2012159" cy="361951"/>
          </a:xfrm>
          <a:custGeom>
            <a:avLst/>
            <a:gdLst>
              <a:gd name="T0" fmla="*/ 730 w 810"/>
              <a:gd name="T1" fmla="*/ 228 h 228"/>
              <a:gd name="T2" fmla="*/ 0 w 810"/>
              <a:gd name="T3" fmla="*/ 228 h 228"/>
              <a:gd name="T4" fmla="*/ 89 w 810"/>
              <a:gd name="T5" fmla="*/ 0 h 228"/>
              <a:gd name="T6" fmla="*/ 810 w 810"/>
              <a:gd name="T7" fmla="*/ 0 h 228"/>
              <a:gd name="T8" fmla="*/ 730 w 810"/>
              <a:gd name="T9" fmla="*/ 228 h 2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810" h="228">
                <a:moveTo>
                  <a:pt x="730" y="228"/>
                </a:moveTo>
                <a:lnTo>
                  <a:pt x="0" y="228"/>
                </a:lnTo>
                <a:lnTo>
                  <a:pt x="89" y="0"/>
                </a:lnTo>
                <a:lnTo>
                  <a:pt x="810" y="0"/>
                </a:lnTo>
                <a:lnTo>
                  <a:pt x="730" y="228"/>
                </a:lnTo>
                <a:close/>
              </a:path>
            </a:pathLst>
          </a:custGeom>
          <a:solidFill>
            <a:srgbClr val="DB4B93"/>
          </a:solidFill>
          <a:ln>
            <a:solidFill>
              <a:srgbClr val="DB4B93"/>
            </a:solidFill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933" dirty="0">
                <a:solidFill>
                  <a:schemeClr val="bg1"/>
                </a:solidFill>
                <a:latin typeface="Marianne" panose="02000000000000000000" pitchFamily="2" charset="0"/>
              </a:rPr>
              <a:t>Flux autres réservataires = X %</a:t>
            </a:r>
          </a:p>
        </p:txBody>
      </p:sp>
    </p:spTree>
    <p:extLst>
      <p:ext uri="{BB962C8B-B14F-4D97-AF65-F5344CB8AC3E}">
        <p14:creationId xmlns:p14="http://schemas.microsoft.com/office/powerpoint/2010/main" val="65327492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500"/>
                            </p:stCondLst>
                            <p:childTnLst>
                              <p:par>
                                <p:cTn id="11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5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5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000"/>
                            </p:stCondLst>
                            <p:childTnLst>
                              <p:par>
                                <p:cTn id="17" presetID="16" presetClass="entr" presetSubtype="37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Vertical)">
                                      <p:cBhvr>
                                        <p:cTn id="19" dur="500"/>
                                        <p:tgtEl>
                                          <p:spTgt spid="6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1500"/>
                            </p:stCondLst>
                            <p:childTnLst>
                              <p:par>
                                <p:cTn id="21" presetID="16" presetClass="entr" presetSubtype="37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Vertical)">
                                      <p:cBhvr>
                                        <p:cTn id="23" dur="500"/>
                                        <p:tgtEl>
                                          <p:spTgt spid="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2000"/>
                            </p:stCondLst>
                            <p:childTnLst>
                              <p:par>
                                <p:cTn id="25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7" dur="500" fill="hold"/>
                                        <p:tgtEl>
                                          <p:spTgt spid="6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500" fill="hold"/>
                                        <p:tgtEl>
                                          <p:spTgt spid="6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6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0" fill="hold">
                            <p:stCondLst>
                              <p:cond delay="2500"/>
                            </p:stCondLst>
                            <p:childTnLst>
                              <p:par>
                                <p:cTn id="31" presetID="16" presetClass="entr" presetSubtype="37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Vertical)">
                                      <p:cBhvr>
                                        <p:cTn id="33" dur="500"/>
                                        <p:tgtEl>
                                          <p:spTgt spid="6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" fill="hold">
                            <p:stCondLst>
                              <p:cond delay="3000"/>
                            </p:stCondLst>
                            <p:childTnLst>
                              <p:par>
                                <p:cTn id="35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7" dur="500" fill="hold"/>
                                        <p:tgtEl>
                                          <p:spTgt spid="7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8" dur="500" fill="hold"/>
                                        <p:tgtEl>
                                          <p:spTgt spid="7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3500"/>
                            </p:stCondLst>
                            <p:childTnLst>
                              <p:par>
                                <p:cTn id="41" presetID="16" presetClass="entr" presetSubtype="37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Vertical)">
                                      <p:cBhvr>
                                        <p:cTn id="43" dur="500"/>
                                        <p:tgtEl>
                                          <p:spTgt spid="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4" fill="hold">
                            <p:stCondLst>
                              <p:cond delay="4000"/>
                            </p:stCondLst>
                            <p:childTnLst>
                              <p:par>
                                <p:cTn id="45" presetID="16" presetClass="entr" presetSubtype="37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Vertical)">
                                      <p:cBhvr>
                                        <p:cTn id="47" dur="500"/>
                                        <p:tgtEl>
                                          <p:spTgt spid="8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8" fill="hold">
                            <p:stCondLst>
                              <p:cond delay="4500"/>
                            </p:stCondLst>
                            <p:childTnLst>
                              <p:par>
                                <p:cTn id="49" presetID="16" presetClass="entr" presetSubtype="37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Vertical)">
                                      <p:cBhvr>
                                        <p:cTn id="51" dur="500"/>
                                        <p:tgtEl>
                                          <p:spTgt spid="8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2" fill="hold">
                            <p:stCondLst>
                              <p:cond delay="5000"/>
                            </p:stCondLst>
                            <p:childTnLst>
                              <p:par>
                                <p:cTn id="53" presetID="16" presetClass="entr" presetSubtype="37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Vertical)">
                                      <p:cBhvr>
                                        <p:cTn id="55" dur="500"/>
                                        <p:tgtEl>
                                          <p:spTgt spid="9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1" grpId="0"/>
      <p:bldP spid="62" grpId="0"/>
      <p:bldP spid="69" grpId="0"/>
      <p:bldP spid="76" grpId="0"/>
      <p:bldP spid="80" grpId="0"/>
      <p:bldP spid="89" grpId="0"/>
      <p:bldP spid="91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re 4">
            <a:extLst>
              <a:ext uri="{FF2B5EF4-FFF2-40B4-BE49-F238E27FC236}">
                <a16:creationId xmlns:a16="http://schemas.microsoft.com/office/drawing/2014/main" id="{7FECE53A-9267-D842-B87E-F184AF518E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lIns="0" tIns="45720" rIns="0" bIns="45720" rtlCol="0" anchor="ctr">
            <a:normAutofit/>
          </a:bodyPr>
          <a:lstStyle/>
          <a:p>
            <a:r>
              <a:rPr lang="fr-FR" sz="4000" dirty="0">
                <a:latin typeface="Marianne" panose="02000000000000000000" pitchFamily="2" charset="0"/>
              </a:rPr>
              <a:t>Aujourd’hui, la gestion en stock</a:t>
            </a:r>
          </a:p>
        </p:txBody>
      </p:sp>
      <p:pic>
        <p:nvPicPr>
          <p:cNvPr id="8" name="Graphique 7" descr="Maison">
            <a:extLst>
              <a:ext uri="{FF2B5EF4-FFF2-40B4-BE49-F238E27FC236}">
                <a16:creationId xmlns:a16="http://schemas.microsoft.com/office/drawing/2014/main" id="{348472CE-1F5D-F642-8997-DCFF67A1DF96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733049" y="3813043"/>
            <a:ext cx="480231" cy="480231"/>
          </a:xfrm>
          <a:prstGeom prst="rect">
            <a:avLst/>
          </a:prstGeom>
        </p:spPr>
      </p:pic>
      <p:pic>
        <p:nvPicPr>
          <p:cNvPr id="10" name="Graphique 9" descr="Utilisateur">
            <a:extLst>
              <a:ext uri="{FF2B5EF4-FFF2-40B4-BE49-F238E27FC236}">
                <a16:creationId xmlns:a16="http://schemas.microsoft.com/office/drawing/2014/main" id="{B3250BA7-5B01-FC4B-B0A3-93BB6BD75526}"/>
              </a:ext>
            </a:extLst>
          </p:cNvPr>
          <p:cNvPicPr>
            <a:picLocks noChangeAspect="1"/>
          </p:cNvPicPr>
          <p:nvPr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390360" y="2609758"/>
            <a:ext cx="633905" cy="633905"/>
          </a:xfrm>
          <a:prstGeom prst="rect">
            <a:avLst/>
          </a:prstGeom>
        </p:spPr>
      </p:pic>
      <p:sp>
        <p:nvSpPr>
          <p:cNvPr id="11" name="ZoneTexte 10">
            <a:extLst>
              <a:ext uri="{FF2B5EF4-FFF2-40B4-BE49-F238E27FC236}">
                <a16:creationId xmlns:a16="http://schemas.microsoft.com/office/drawing/2014/main" id="{84DDC340-B9C0-1847-A7AE-EC51DE106AFF}"/>
              </a:ext>
            </a:extLst>
          </p:cNvPr>
          <p:cNvSpPr txBox="1"/>
          <p:nvPr/>
        </p:nvSpPr>
        <p:spPr>
          <a:xfrm>
            <a:off x="224855" y="5023093"/>
            <a:ext cx="3568652" cy="99540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 defTabSz="1218072">
              <a:buClr>
                <a:srgbClr val="F6A924"/>
              </a:buClr>
            </a:pPr>
            <a:r>
              <a:rPr lang="fr-FR" sz="1467" dirty="0">
                <a:latin typeface="Marianne" panose="02000000000000000000" pitchFamily="2" charset="0"/>
                <a:ea typeface="Work Sans ExtraBold" charset="0"/>
                <a:cs typeface="Work Sans ExtraBold" charset="0"/>
              </a:rPr>
              <a:t>Le réservataire acquiert une réservation en droit simple ou en droit de suite sur un logement identifié en échange d’une somme d’argent ou d’une garantie</a:t>
            </a:r>
          </a:p>
        </p:txBody>
      </p:sp>
      <p:pic>
        <p:nvPicPr>
          <p:cNvPr id="12" name="Graphique 11" descr="Bâtiment">
            <a:extLst>
              <a:ext uri="{FF2B5EF4-FFF2-40B4-BE49-F238E27FC236}">
                <a16:creationId xmlns:a16="http://schemas.microsoft.com/office/drawing/2014/main" id="{80CB77A2-F7D1-2749-A278-04270C715A5F}"/>
              </a:ext>
            </a:extLst>
          </p:cNvPr>
          <p:cNvPicPr>
            <a:picLocks noChangeAspect="1"/>
          </p:cNvPicPr>
          <p:nvPr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2926518" y="2589742"/>
            <a:ext cx="633905" cy="633905"/>
          </a:xfrm>
          <a:prstGeom prst="rect">
            <a:avLst/>
          </a:prstGeom>
        </p:spPr>
      </p:pic>
      <p:sp>
        <p:nvSpPr>
          <p:cNvPr id="13" name="ZoneTexte 12">
            <a:extLst>
              <a:ext uri="{FF2B5EF4-FFF2-40B4-BE49-F238E27FC236}">
                <a16:creationId xmlns:a16="http://schemas.microsoft.com/office/drawing/2014/main" id="{126CFD9E-8633-8240-ADB7-534DBC3A552F}"/>
              </a:ext>
            </a:extLst>
          </p:cNvPr>
          <p:cNvSpPr txBox="1"/>
          <p:nvPr/>
        </p:nvSpPr>
        <p:spPr>
          <a:xfrm>
            <a:off x="47329" y="3141843"/>
            <a:ext cx="1497284" cy="3181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218072">
              <a:buClr>
                <a:srgbClr val="F6A924"/>
              </a:buClr>
            </a:pPr>
            <a:r>
              <a:rPr lang="fr-FR" sz="1467" dirty="0">
                <a:latin typeface="Marianne" panose="02000000000000000000" pitchFamily="2" charset="0"/>
                <a:ea typeface="Work Sans ExtraBold" charset="0"/>
                <a:cs typeface="Work Sans ExtraBold" charset="0"/>
              </a:rPr>
              <a:t>Réservataire</a:t>
            </a:r>
          </a:p>
        </p:txBody>
      </p:sp>
      <p:sp>
        <p:nvSpPr>
          <p:cNvPr id="14" name="ZoneTexte 13">
            <a:extLst>
              <a:ext uri="{FF2B5EF4-FFF2-40B4-BE49-F238E27FC236}">
                <a16:creationId xmlns:a16="http://schemas.microsoft.com/office/drawing/2014/main" id="{AB65E5B5-08F6-FC49-8E2D-8B705B258A5C}"/>
              </a:ext>
            </a:extLst>
          </p:cNvPr>
          <p:cNvSpPr txBox="1"/>
          <p:nvPr/>
        </p:nvSpPr>
        <p:spPr>
          <a:xfrm>
            <a:off x="2791498" y="3163217"/>
            <a:ext cx="1005460" cy="3181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218072">
              <a:buClr>
                <a:srgbClr val="F6A924"/>
              </a:buClr>
            </a:pPr>
            <a:r>
              <a:rPr lang="fr-FR" sz="1467" dirty="0">
                <a:latin typeface="Marianne" panose="02000000000000000000" pitchFamily="2" charset="0"/>
                <a:ea typeface="Work Sans ExtraBold" charset="0"/>
                <a:cs typeface="Work Sans ExtraBold" charset="0"/>
              </a:rPr>
              <a:t>Bailleur</a:t>
            </a:r>
          </a:p>
        </p:txBody>
      </p:sp>
      <p:pic>
        <p:nvPicPr>
          <p:cNvPr id="15" name="Graphique 14" descr="Pièces">
            <a:extLst>
              <a:ext uri="{FF2B5EF4-FFF2-40B4-BE49-F238E27FC236}">
                <a16:creationId xmlns:a16="http://schemas.microsoft.com/office/drawing/2014/main" id="{77D52FD8-CD85-E74B-B01D-7A9688666978}"/>
              </a:ext>
            </a:extLst>
          </p:cNvPr>
          <p:cNvPicPr>
            <a:picLocks noChangeAspect="1"/>
          </p:cNvPicPr>
          <p:nvPr/>
        </p:nvPicPr>
        <p:blipFill>
          <a:blip r:embed="rId8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733049" y="1689351"/>
            <a:ext cx="480231" cy="480231"/>
          </a:xfrm>
          <a:prstGeom prst="rect">
            <a:avLst/>
          </a:prstGeom>
        </p:spPr>
      </p:pic>
      <p:cxnSp>
        <p:nvCxnSpPr>
          <p:cNvPr id="16" name="Connecteur : en arc 23">
            <a:extLst>
              <a:ext uri="{FF2B5EF4-FFF2-40B4-BE49-F238E27FC236}">
                <a16:creationId xmlns:a16="http://schemas.microsoft.com/office/drawing/2014/main" id="{CCF3BF3B-C7FE-1D47-9EDA-9E31DCCD2E33}"/>
              </a:ext>
            </a:extLst>
          </p:cNvPr>
          <p:cNvCxnSpPr>
            <a:cxnSpLocks/>
            <a:stCxn id="10" idx="0"/>
            <a:endCxn id="12" idx="0"/>
          </p:cNvCxnSpPr>
          <p:nvPr/>
        </p:nvCxnSpPr>
        <p:spPr>
          <a:xfrm rot="5400000" flipH="1" flipV="1">
            <a:off x="1965383" y="1331673"/>
            <a:ext cx="20015" cy="2536159"/>
          </a:xfrm>
          <a:prstGeom prst="curvedConnector3">
            <a:avLst>
              <a:gd name="adj1" fmla="val 2256032"/>
            </a:avLst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Connecteur : en arc 26">
            <a:extLst>
              <a:ext uri="{FF2B5EF4-FFF2-40B4-BE49-F238E27FC236}">
                <a16:creationId xmlns:a16="http://schemas.microsoft.com/office/drawing/2014/main" id="{A9FB528C-BD5D-4D42-9D17-A0ECDA1612A5}"/>
              </a:ext>
            </a:extLst>
          </p:cNvPr>
          <p:cNvCxnSpPr>
            <a:cxnSpLocks/>
            <a:stCxn id="14" idx="2"/>
          </p:cNvCxnSpPr>
          <p:nvPr/>
        </p:nvCxnSpPr>
        <p:spPr>
          <a:xfrm rot="5400000" flipH="1">
            <a:off x="2025728" y="2212817"/>
            <a:ext cx="844" cy="2536157"/>
          </a:xfrm>
          <a:prstGeom prst="curvedConnector4">
            <a:avLst>
              <a:gd name="adj1" fmla="val -27085308"/>
              <a:gd name="adj2" fmla="val 59911"/>
            </a:avLst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Ellipse 17">
            <a:extLst>
              <a:ext uri="{FF2B5EF4-FFF2-40B4-BE49-F238E27FC236}">
                <a16:creationId xmlns:a16="http://schemas.microsoft.com/office/drawing/2014/main" id="{7ED241E6-C2CD-784E-A826-950195EB7D88}"/>
              </a:ext>
            </a:extLst>
          </p:cNvPr>
          <p:cNvSpPr/>
          <p:nvPr/>
        </p:nvSpPr>
        <p:spPr>
          <a:xfrm>
            <a:off x="332370" y="4609948"/>
            <a:ext cx="384185" cy="384185"/>
          </a:xfrm>
          <a:prstGeom prst="ellipse">
            <a:avLst/>
          </a:prstGeom>
          <a:solidFill>
            <a:srgbClr val="01396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8072"/>
            <a:r>
              <a:rPr lang="fr-FR" sz="2135" dirty="0">
                <a:solidFill>
                  <a:schemeClr val="bg1"/>
                </a:solidFill>
                <a:latin typeface="Marianne" panose="02000000000000000000" pitchFamily="2" charset="0"/>
              </a:rPr>
              <a:t>1</a:t>
            </a:r>
            <a:endParaRPr lang="fr-FR" sz="2401" dirty="0">
              <a:solidFill>
                <a:schemeClr val="bg1"/>
              </a:solidFill>
              <a:latin typeface="Marianne" panose="02000000000000000000" pitchFamily="2" charset="0"/>
            </a:endParaRPr>
          </a:p>
        </p:txBody>
      </p:sp>
      <p:sp>
        <p:nvSpPr>
          <p:cNvPr id="19" name="ZoneTexte 18">
            <a:extLst>
              <a:ext uri="{FF2B5EF4-FFF2-40B4-BE49-F238E27FC236}">
                <a16:creationId xmlns:a16="http://schemas.microsoft.com/office/drawing/2014/main" id="{E6A5C350-FAA7-5348-9BD1-D8C4BA8FEF50}"/>
              </a:ext>
            </a:extLst>
          </p:cNvPr>
          <p:cNvSpPr txBox="1"/>
          <p:nvPr/>
        </p:nvSpPr>
        <p:spPr>
          <a:xfrm>
            <a:off x="1350849" y="4293356"/>
            <a:ext cx="1234264" cy="54386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1218072">
              <a:buClr>
                <a:srgbClr val="F6A924"/>
              </a:buClr>
            </a:pPr>
            <a:r>
              <a:rPr lang="fr-FR" sz="1467" dirty="0">
                <a:latin typeface="Marianne" panose="02000000000000000000" pitchFamily="2" charset="0"/>
                <a:ea typeface="Work Sans ExtraBold" charset="0"/>
                <a:cs typeface="Work Sans ExtraBold" charset="0"/>
              </a:rPr>
              <a:t>Logement </a:t>
            </a:r>
          </a:p>
          <a:p>
            <a:pPr algn="ctr" defTabSz="1218072">
              <a:buClr>
                <a:srgbClr val="F6A924"/>
              </a:buClr>
            </a:pPr>
            <a:r>
              <a:rPr lang="fr-FR" sz="1467" dirty="0">
                <a:latin typeface="Marianne" panose="02000000000000000000" pitchFamily="2" charset="0"/>
                <a:ea typeface="Work Sans ExtraBold" charset="0"/>
                <a:cs typeface="Work Sans ExtraBold" charset="0"/>
              </a:rPr>
              <a:t>réservé</a:t>
            </a:r>
          </a:p>
        </p:txBody>
      </p:sp>
      <p:sp>
        <p:nvSpPr>
          <p:cNvPr id="20" name="ZoneTexte 19">
            <a:extLst>
              <a:ext uri="{FF2B5EF4-FFF2-40B4-BE49-F238E27FC236}">
                <a16:creationId xmlns:a16="http://schemas.microsoft.com/office/drawing/2014/main" id="{E96D9089-B190-8E4B-9563-6CE8F2EA5B2A}"/>
              </a:ext>
            </a:extLst>
          </p:cNvPr>
          <p:cNvSpPr txBox="1"/>
          <p:nvPr/>
        </p:nvSpPr>
        <p:spPr>
          <a:xfrm>
            <a:off x="3997045" y="5039563"/>
            <a:ext cx="3841847" cy="76963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 defTabSz="1218072">
              <a:buClr>
                <a:srgbClr val="F6A924"/>
              </a:buClr>
            </a:pPr>
            <a:r>
              <a:rPr lang="fr-FR" sz="1467" dirty="0">
                <a:latin typeface="Marianne" panose="02000000000000000000" pitchFamily="2" charset="0"/>
                <a:ea typeface="Work Sans ExtraBold" charset="0"/>
                <a:cs typeface="Work Sans ExtraBold" charset="0"/>
              </a:rPr>
              <a:t>Le réservataire propose un candidat au bailleur. La candidature est examinée en CALEOL pour attribution.</a:t>
            </a:r>
          </a:p>
        </p:txBody>
      </p:sp>
      <p:sp>
        <p:nvSpPr>
          <p:cNvPr id="21" name="Ellipse 20">
            <a:extLst>
              <a:ext uri="{FF2B5EF4-FFF2-40B4-BE49-F238E27FC236}">
                <a16:creationId xmlns:a16="http://schemas.microsoft.com/office/drawing/2014/main" id="{A4A70BD2-80D5-C84D-A977-B48C6B790593}"/>
              </a:ext>
            </a:extLst>
          </p:cNvPr>
          <p:cNvSpPr/>
          <p:nvPr/>
        </p:nvSpPr>
        <p:spPr>
          <a:xfrm>
            <a:off x="4087697" y="4607797"/>
            <a:ext cx="384185" cy="384185"/>
          </a:xfrm>
          <a:prstGeom prst="ellipse">
            <a:avLst/>
          </a:prstGeom>
          <a:solidFill>
            <a:srgbClr val="01396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8072"/>
            <a:r>
              <a:rPr lang="fr-FR" sz="2135" dirty="0">
                <a:solidFill>
                  <a:schemeClr val="bg1"/>
                </a:solidFill>
                <a:latin typeface="Marianne" panose="02000000000000000000" pitchFamily="2" charset="0"/>
              </a:rPr>
              <a:t>2</a:t>
            </a:r>
            <a:endParaRPr lang="fr-FR" sz="2401" dirty="0">
              <a:solidFill>
                <a:schemeClr val="bg1"/>
              </a:solidFill>
              <a:latin typeface="Marianne" panose="02000000000000000000" pitchFamily="2" charset="0"/>
            </a:endParaRPr>
          </a:p>
        </p:txBody>
      </p:sp>
      <p:pic>
        <p:nvPicPr>
          <p:cNvPr id="22" name="Graphique 21" descr="Utilisateur">
            <a:extLst>
              <a:ext uri="{FF2B5EF4-FFF2-40B4-BE49-F238E27FC236}">
                <a16:creationId xmlns:a16="http://schemas.microsoft.com/office/drawing/2014/main" id="{90CDF5B2-0475-E34F-A2CA-C4A1DFEF6019}"/>
              </a:ext>
            </a:extLst>
          </p:cNvPr>
          <p:cNvPicPr>
            <a:picLocks noChangeAspect="1"/>
          </p:cNvPicPr>
          <p:nvPr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4281620" y="3024317"/>
            <a:ext cx="633905" cy="633905"/>
          </a:xfrm>
          <a:prstGeom prst="rect">
            <a:avLst/>
          </a:prstGeom>
        </p:spPr>
      </p:pic>
      <p:sp>
        <p:nvSpPr>
          <p:cNvPr id="23" name="ZoneTexte 22">
            <a:extLst>
              <a:ext uri="{FF2B5EF4-FFF2-40B4-BE49-F238E27FC236}">
                <a16:creationId xmlns:a16="http://schemas.microsoft.com/office/drawing/2014/main" id="{0C0EB845-8B38-A248-A8C9-978DD4047C35}"/>
              </a:ext>
            </a:extLst>
          </p:cNvPr>
          <p:cNvSpPr txBox="1"/>
          <p:nvPr/>
        </p:nvSpPr>
        <p:spPr>
          <a:xfrm>
            <a:off x="3849931" y="3585952"/>
            <a:ext cx="1497284" cy="3181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218072">
              <a:buClr>
                <a:srgbClr val="F6A924"/>
              </a:buClr>
            </a:pPr>
            <a:r>
              <a:rPr lang="fr-FR" sz="1467" dirty="0">
                <a:latin typeface="Marianne" panose="02000000000000000000" pitchFamily="2" charset="0"/>
                <a:ea typeface="Work Sans ExtraBold" charset="0"/>
                <a:cs typeface="Work Sans ExtraBold" charset="0"/>
              </a:rPr>
              <a:t>Réservataire</a:t>
            </a:r>
          </a:p>
        </p:txBody>
      </p:sp>
      <p:pic>
        <p:nvPicPr>
          <p:cNvPr id="24" name="Graphique 23" descr="Bâtiment">
            <a:extLst>
              <a:ext uri="{FF2B5EF4-FFF2-40B4-BE49-F238E27FC236}">
                <a16:creationId xmlns:a16="http://schemas.microsoft.com/office/drawing/2014/main" id="{9D861246-6A7D-804F-9E34-02481D7A24B5}"/>
              </a:ext>
            </a:extLst>
          </p:cNvPr>
          <p:cNvPicPr>
            <a:picLocks noChangeAspect="1"/>
          </p:cNvPicPr>
          <p:nvPr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5836570" y="2985957"/>
            <a:ext cx="633905" cy="633905"/>
          </a:xfrm>
          <a:prstGeom prst="rect">
            <a:avLst/>
          </a:prstGeom>
        </p:spPr>
      </p:pic>
      <p:sp>
        <p:nvSpPr>
          <p:cNvPr id="25" name="ZoneTexte 24">
            <a:extLst>
              <a:ext uri="{FF2B5EF4-FFF2-40B4-BE49-F238E27FC236}">
                <a16:creationId xmlns:a16="http://schemas.microsoft.com/office/drawing/2014/main" id="{29C3D831-0B49-0B44-B28A-F7524A7CA2CD}"/>
              </a:ext>
            </a:extLst>
          </p:cNvPr>
          <p:cNvSpPr txBox="1"/>
          <p:nvPr/>
        </p:nvSpPr>
        <p:spPr>
          <a:xfrm>
            <a:off x="5650793" y="3619863"/>
            <a:ext cx="1005460" cy="3181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218072">
              <a:buClr>
                <a:srgbClr val="F6A924"/>
              </a:buClr>
            </a:pPr>
            <a:r>
              <a:rPr lang="fr-FR" sz="1467" dirty="0">
                <a:latin typeface="Marianne" panose="02000000000000000000" pitchFamily="2" charset="0"/>
                <a:ea typeface="Work Sans ExtraBold" charset="0"/>
                <a:cs typeface="Work Sans ExtraBold" charset="0"/>
              </a:rPr>
              <a:t>Bailleur</a:t>
            </a:r>
          </a:p>
        </p:txBody>
      </p:sp>
      <p:cxnSp>
        <p:nvCxnSpPr>
          <p:cNvPr id="28" name="Connecteur : en arc 40">
            <a:extLst>
              <a:ext uri="{FF2B5EF4-FFF2-40B4-BE49-F238E27FC236}">
                <a16:creationId xmlns:a16="http://schemas.microsoft.com/office/drawing/2014/main" id="{75242AC4-932C-F743-A3D2-88276B0FE7D2}"/>
              </a:ext>
            </a:extLst>
          </p:cNvPr>
          <p:cNvCxnSpPr>
            <a:cxnSpLocks/>
            <a:stCxn id="22" idx="0"/>
            <a:endCxn id="24" idx="0"/>
          </p:cNvCxnSpPr>
          <p:nvPr/>
        </p:nvCxnSpPr>
        <p:spPr>
          <a:xfrm rot="5400000" flipH="1" flipV="1">
            <a:off x="5356867" y="2227661"/>
            <a:ext cx="38360" cy="1554952"/>
          </a:xfrm>
          <a:prstGeom prst="curvedConnector3">
            <a:avLst>
              <a:gd name="adj1" fmla="val 894965"/>
            </a:avLst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ZoneTexte 29">
            <a:extLst>
              <a:ext uri="{FF2B5EF4-FFF2-40B4-BE49-F238E27FC236}">
                <a16:creationId xmlns:a16="http://schemas.microsoft.com/office/drawing/2014/main" id="{F85DFF55-B0D9-CE46-99C1-E5B064BA5A44}"/>
              </a:ext>
            </a:extLst>
          </p:cNvPr>
          <p:cNvSpPr txBox="1"/>
          <p:nvPr/>
        </p:nvSpPr>
        <p:spPr>
          <a:xfrm>
            <a:off x="4634333" y="1951099"/>
            <a:ext cx="1371946" cy="54386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1218072">
              <a:buClr>
                <a:srgbClr val="F6A924"/>
              </a:buClr>
            </a:pPr>
            <a:r>
              <a:rPr lang="fr-FR" sz="1467" dirty="0">
                <a:latin typeface="Marianne" panose="02000000000000000000" pitchFamily="2" charset="0"/>
                <a:ea typeface="Work Sans ExtraBold" charset="0"/>
                <a:cs typeface="Work Sans ExtraBold" charset="0"/>
              </a:rPr>
              <a:t>Propose un candidat</a:t>
            </a:r>
          </a:p>
        </p:txBody>
      </p:sp>
      <p:cxnSp>
        <p:nvCxnSpPr>
          <p:cNvPr id="31" name="Connecteur : en arc 45">
            <a:extLst>
              <a:ext uri="{FF2B5EF4-FFF2-40B4-BE49-F238E27FC236}">
                <a16:creationId xmlns:a16="http://schemas.microsoft.com/office/drawing/2014/main" id="{FF4CE290-31F3-C547-8604-06DB2E6402A9}"/>
              </a:ext>
            </a:extLst>
          </p:cNvPr>
          <p:cNvCxnSpPr>
            <a:cxnSpLocks/>
            <a:stCxn id="24" idx="0"/>
          </p:cNvCxnSpPr>
          <p:nvPr/>
        </p:nvCxnSpPr>
        <p:spPr>
          <a:xfrm rot="16200000" flipH="1">
            <a:off x="6780859" y="2358622"/>
            <a:ext cx="119683" cy="1374356"/>
          </a:xfrm>
          <a:prstGeom prst="curvedConnector3">
            <a:avLst>
              <a:gd name="adj1" fmla="val -254796"/>
            </a:avLst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ZoneTexte 31">
            <a:extLst>
              <a:ext uri="{FF2B5EF4-FFF2-40B4-BE49-F238E27FC236}">
                <a16:creationId xmlns:a16="http://schemas.microsoft.com/office/drawing/2014/main" id="{9A09367C-AB4E-9B4B-A050-AF0969BDF2A2}"/>
              </a:ext>
            </a:extLst>
          </p:cNvPr>
          <p:cNvSpPr txBox="1"/>
          <p:nvPr/>
        </p:nvSpPr>
        <p:spPr>
          <a:xfrm>
            <a:off x="6284699" y="1861158"/>
            <a:ext cx="1843072" cy="76963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1218072">
              <a:buClr>
                <a:srgbClr val="F6A924"/>
              </a:buClr>
            </a:pPr>
            <a:r>
              <a:rPr lang="fr-FR" sz="1467" dirty="0">
                <a:latin typeface="Marianne" panose="02000000000000000000" pitchFamily="2" charset="0"/>
                <a:ea typeface="Work Sans ExtraBold" charset="0"/>
                <a:cs typeface="Work Sans ExtraBold" charset="0"/>
              </a:rPr>
              <a:t>CALEOL : Attribue le logement</a:t>
            </a:r>
          </a:p>
          <a:p>
            <a:pPr algn="ctr" defTabSz="1218072">
              <a:buClr>
                <a:srgbClr val="F6A924"/>
              </a:buClr>
            </a:pPr>
            <a:r>
              <a:rPr lang="fr-FR" sz="1467" dirty="0">
                <a:latin typeface="Marianne" panose="02000000000000000000" pitchFamily="2" charset="0"/>
                <a:ea typeface="Work Sans ExtraBold" charset="0"/>
                <a:cs typeface="Work Sans ExtraBold" charset="0"/>
              </a:rPr>
              <a:t>réservé</a:t>
            </a:r>
          </a:p>
        </p:txBody>
      </p:sp>
      <p:sp>
        <p:nvSpPr>
          <p:cNvPr id="33" name="ZoneTexte 32">
            <a:extLst>
              <a:ext uri="{FF2B5EF4-FFF2-40B4-BE49-F238E27FC236}">
                <a16:creationId xmlns:a16="http://schemas.microsoft.com/office/drawing/2014/main" id="{73F32CBB-469C-8E48-A0BC-555EF619563B}"/>
              </a:ext>
            </a:extLst>
          </p:cNvPr>
          <p:cNvSpPr txBox="1"/>
          <p:nvPr/>
        </p:nvSpPr>
        <p:spPr>
          <a:xfrm>
            <a:off x="8287166" y="5019942"/>
            <a:ext cx="3841847" cy="15488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 defTabSz="1218072">
              <a:buClr>
                <a:srgbClr val="F6A924"/>
              </a:buClr>
            </a:pPr>
            <a:r>
              <a:rPr lang="fr-FR" sz="1467" dirty="0">
                <a:latin typeface="Marianne" panose="02000000000000000000" pitchFamily="2" charset="0"/>
                <a:ea typeface="Work Sans ExtraBold" charset="0"/>
                <a:cs typeface="Work Sans ExtraBold" charset="0"/>
              </a:rPr>
              <a:t>Au départ du locataire deux situations :</a:t>
            </a:r>
          </a:p>
          <a:p>
            <a:pPr marL="228709" indent="-228709" algn="just" defTabSz="1218072">
              <a:buClr>
                <a:srgbClr val="F6A924"/>
              </a:buClr>
              <a:buFontTx/>
              <a:buChar char="-"/>
            </a:pPr>
            <a:r>
              <a:rPr lang="fr-FR" sz="1333" dirty="0">
                <a:latin typeface="Marianne" panose="02000000000000000000" pitchFamily="2" charset="0"/>
                <a:ea typeface="Work Sans ExtraBold" charset="0"/>
                <a:cs typeface="Work Sans ExtraBold" charset="0"/>
              </a:rPr>
              <a:t>Réservation en droit simple : le logement revient dans le parc du bailleurs qui peut l’attribuer à d’autres demandeurs</a:t>
            </a:r>
          </a:p>
          <a:p>
            <a:pPr marL="228709" indent="-228709" algn="just" defTabSz="1218072">
              <a:buClr>
                <a:srgbClr val="F6A924"/>
              </a:buClr>
              <a:buFontTx/>
              <a:buChar char="-"/>
            </a:pPr>
            <a:r>
              <a:rPr lang="fr-FR" sz="1333" dirty="0">
                <a:latin typeface="Marianne" panose="02000000000000000000" pitchFamily="2" charset="0"/>
                <a:ea typeface="Work Sans ExtraBold" charset="0"/>
                <a:cs typeface="Work Sans ExtraBold" charset="0"/>
              </a:rPr>
              <a:t>Réservation en droit de suite : le bailleur propose à nouveau le logement au réservataire jusqu’à l’expiration de la durée totale de réservation</a:t>
            </a:r>
          </a:p>
        </p:txBody>
      </p:sp>
      <p:sp>
        <p:nvSpPr>
          <p:cNvPr id="34" name="Ellipse 33">
            <a:extLst>
              <a:ext uri="{FF2B5EF4-FFF2-40B4-BE49-F238E27FC236}">
                <a16:creationId xmlns:a16="http://schemas.microsoft.com/office/drawing/2014/main" id="{DD0D5955-4D3B-DF45-AF81-CC5161A8FE88}"/>
              </a:ext>
            </a:extLst>
          </p:cNvPr>
          <p:cNvSpPr/>
          <p:nvPr/>
        </p:nvSpPr>
        <p:spPr>
          <a:xfrm>
            <a:off x="8318067" y="4609910"/>
            <a:ext cx="384185" cy="384185"/>
          </a:xfrm>
          <a:prstGeom prst="ellipse">
            <a:avLst/>
          </a:prstGeom>
          <a:solidFill>
            <a:srgbClr val="01396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8072"/>
            <a:r>
              <a:rPr lang="fr-FR" sz="2135" dirty="0">
                <a:solidFill>
                  <a:schemeClr val="bg1"/>
                </a:solidFill>
                <a:latin typeface="Marianne" panose="02000000000000000000" pitchFamily="2" charset="0"/>
              </a:rPr>
              <a:t>3</a:t>
            </a:r>
            <a:endParaRPr lang="fr-FR" sz="2401" dirty="0">
              <a:solidFill>
                <a:schemeClr val="bg1"/>
              </a:solidFill>
              <a:latin typeface="Marianne" panose="02000000000000000000" pitchFamily="2" charset="0"/>
            </a:endParaRPr>
          </a:p>
        </p:txBody>
      </p:sp>
      <p:pic>
        <p:nvPicPr>
          <p:cNvPr id="37" name="Graphique 36" descr="Bâtiment">
            <a:extLst>
              <a:ext uri="{FF2B5EF4-FFF2-40B4-BE49-F238E27FC236}">
                <a16:creationId xmlns:a16="http://schemas.microsoft.com/office/drawing/2014/main" id="{FB0C27D1-2542-2242-83F1-BA384A041800}"/>
              </a:ext>
            </a:extLst>
          </p:cNvPr>
          <p:cNvPicPr>
            <a:picLocks noChangeAspect="1"/>
          </p:cNvPicPr>
          <p:nvPr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8644221" y="2313840"/>
            <a:ext cx="633905" cy="633905"/>
          </a:xfrm>
          <a:prstGeom prst="rect">
            <a:avLst/>
          </a:prstGeom>
        </p:spPr>
      </p:pic>
      <p:sp>
        <p:nvSpPr>
          <p:cNvPr id="38" name="ZoneTexte 37">
            <a:extLst>
              <a:ext uri="{FF2B5EF4-FFF2-40B4-BE49-F238E27FC236}">
                <a16:creationId xmlns:a16="http://schemas.microsoft.com/office/drawing/2014/main" id="{21705CD0-9CE1-5349-9D8E-1757F6606EF1}"/>
              </a:ext>
            </a:extLst>
          </p:cNvPr>
          <p:cNvSpPr txBox="1"/>
          <p:nvPr/>
        </p:nvSpPr>
        <p:spPr>
          <a:xfrm>
            <a:off x="8458443" y="2947745"/>
            <a:ext cx="1005460" cy="3181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218072">
              <a:buClr>
                <a:srgbClr val="F6A924"/>
              </a:buClr>
            </a:pPr>
            <a:r>
              <a:rPr lang="fr-FR" sz="1467" dirty="0">
                <a:latin typeface="Marianne" panose="02000000000000000000" pitchFamily="2" charset="0"/>
                <a:ea typeface="Work Sans ExtraBold" charset="0"/>
                <a:cs typeface="Work Sans ExtraBold" charset="0"/>
              </a:rPr>
              <a:t>Bailleur</a:t>
            </a:r>
          </a:p>
        </p:txBody>
      </p:sp>
      <p:pic>
        <p:nvPicPr>
          <p:cNvPr id="39" name="Graphique 38" descr="Utilisateur">
            <a:extLst>
              <a:ext uri="{FF2B5EF4-FFF2-40B4-BE49-F238E27FC236}">
                <a16:creationId xmlns:a16="http://schemas.microsoft.com/office/drawing/2014/main" id="{4E0DEDF5-3FB3-A545-A153-F13333514128}"/>
              </a:ext>
            </a:extLst>
          </p:cNvPr>
          <p:cNvPicPr>
            <a:picLocks noChangeAspect="1"/>
          </p:cNvPicPr>
          <p:nvPr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0846149" y="2388068"/>
            <a:ext cx="633905" cy="633905"/>
          </a:xfrm>
          <a:prstGeom prst="rect">
            <a:avLst/>
          </a:prstGeom>
        </p:spPr>
      </p:pic>
      <p:sp>
        <p:nvSpPr>
          <p:cNvPr id="40" name="ZoneTexte 39">
            <a:extLst>
              <a:ext uri="{FF2B5EF4-FFF2-40B4-BE49-F238E27FC236}">
                <a16:creationId xmlns:a16="http://schemas.microsoft.com/office/drawing/2014/main" id="{60503D91-63A1-BB4B-882C-38C690F13B5D}"/>
              </a:ext>
            </a:extLst>
          </p:cNvPr>
          <p:cNvSpPr txBox="1"/>
          <p:nvPr/>
        </p:nvSpPr>
        <p:spPr>
          <a:xfrm>
            <a:off x="10414461" y="2949703"/>
            <a:ext cx="1497284" cy="3181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218072">
              <a:buClr>
                <a:srgbClr val="F6A924"/>
              </a:buClr>
            </a:pPr>
            <a:r>
              <a:rPr lang="fr-FR" sz="1467" dirty="0">
                <a:latin typeface="Marianne" panose="02000000000000000000" pitchFamily="2" charset="0"/>
                <a:ea typeface="Work Sans ExtraBold" charset="0"/>
                <a:cs typeface="Work Sans ExtraBold" charset="0"/>
              </a:rPr>
              <a:t>Réservataire</a:t>
            </a:r>
          </a:p>
        </p:txBody>
      </p:sp>
      <p:cxnSp>
        <p:nvCxnSpPr>
          <p:cNvPr id="43" name="Connecteur : en arc 59">
            <a:extLst>
              <a:ext uri="{FF2B5EF4-FFF2-40B4-BE49-F238E27FC236}">
                <a16:creationId xmlns:a16="http://schemas.microsoft.com/office/drawing/2014/main" id="{D7994908-DF78-C746-AB18-B1D8155AB36E}"/>
              </a:ext>
            </a:extLst>
          </p:cNvPr>
          <p:cNvCxnSpPr>
            <a:cxnSpLocks/>
            <a:stCxn id="38" idx="2"/>
            <a:endCxn id="40" idx="2"/>
          </p:cNvCxnSpPr>
          <p:nvPr/>
        </p:nvCxnSpPr>
        <p:spPr>
          <a:xfrm rot="16200000" flipH="1">
            <a:off x="10061159" y="2165859"/>
            <a:ext cx="1958" cy="2201930"/>
          </a:xfrm>
          <a:prstGeom prst="curvedConnector3">
            <a:avLst>
              <a:gd name="adj1" fmla="val 11775179"/>
            </a:avLst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4" name="Graphique 43" descr="Maison">
            <a:extLst>
              <a:ext uri="{FF2B5EF4-FFF2-40B4-BE49-F238E27FC236}">
                <a16:creationId xmlns:a16="http://schemas.microsoft.com/office/drawing/2014/main" id="{511DB7C4-A566-AD42-A3E2-D4E8429A569A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9845861" y="3117597"/>
            <a:ext cx="480231" cy="480231"/>
          </a:xfrm>
          <a:prstGeom prst="rect">
            <a:avLst/>
          </a:prstGeom>
        </p:spPr>
      </p:pic>
      <p:sp>
        <p:nvSpPr>
          <p:cNvPr id="45" name="ZoneTexte 44">
            <a:extLst>
              <a:ext uri="{FF2B5EF4-FFF2-40B4-BE49-F238E27FC236}">
                <a16:creationId xmlns:a16="http://schemas.microsoft.com/office/drawing/2014/main" id="{0C8386EA-972D-824D-BFDE-6F660E0D6A8F}"/>
              </a:ext>
            </a:extLst>
          </p:cNvPr>
          <p:cNvSpPr txBox="1"/>
          <p:nvPr/>
        </p:nvSpPr>
        <p:spPr>
          <a:xfrm>
            <a:off x="9009289" y="3604327"/>
            <a:ext cx="2334219" cy="54386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1218072">
              <a:buClr>
                <a:srgbClr val="F6A924"/>
              </a:buClr>
            </a:pPr>
            <a:r>
              <a:rPr lang="fr-FR" sz="1467" dirty="0">
                <a:latin typeface="Marianne" panose="02000000000000000000" pitchFamily="2" charset="0"/>
                <a:ea typeface="Work Sans ExtraBold" charset="0"/>
                <a:cs typeface="Work Sans ExtraBold" charset="0"/>
              </a:rPr>
              <a:t>Informe de la libération du logement</a:t>
            </a:r>
          </a:p>
        </p:txBody>
      </p:sp>
      <p:pic>
        <p:nvPicPr>
          <p:cNvPr id="49" name="Graphique 48" descr="Maison">
            <a:extLst>
              <a:ext uri="{FF2B5EF4-FFF2-40B4-BE49-F238E27FC236}">
                <a16:creationId xmlns:a16="http://schemas.microsoft.com/office/drawing/2014/main" id="{B2A9879D-CE87-4C4E-9E81-ACB6DE926E3C}"/>
              </a:ext>
            </a:extLst>
          </p:cNvPr>
          <p:cNvPicPr>
            <a:picLocks noChangeAspect="1"/>
          </p:cNvPicPr>
          <p:nvPr/>
        </p:nvPicPr>
        <p:blipFill>
          <a:blip r:embed="rId12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11237474" y="1171137"/>
            <a:ext cx="480231" cy="480231"/>
          </a:xfrm>
          <a:prstGeom prst="rect">
            <a:avLst/>
          </a:prstGeom>
        </p:spPr>
      </p:pic>
      <p:sp>
        <p:nvSpPr>
          <p:cNvPr id="50" name="ZoneTexte 49">
            <a:extLst>
              <a:ext uri="{FF2B5EF4-FFF2-40B4-BE49-F238E27FC236}">
                <a16:creationId xmlns:a16="http://schemas.microsoft.com/office/drawing/2014/main" id="{18AFAE81-73AE-0044-82E4-654FBE2F8727}"/>
              </a:ext>
            </a:extLst>
          </p:cNvPr>
          <p:cNvSpPr txBox="1"/>
          <p:nvPr/>
        </p:nvSpPr>
        <p:spPr>
          <a:xfrm>
            <a:off x="10492913" y="1552925"/>
            <a:ext cx="1699088" cy="54386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1218072">
              <a:buClr>
                <a:srgbClr val="F6A924"/>
              </a:buClr>
            </a:pPr>
            <a:r>
              <a:rPr lang="fr-FR" sz="1467" dirty="0">
                <a:latin typeface="Marianne" panose="02000000000000000000" pitchFamily="2" charset="0"/>
                <a:ea typeface="Work Sans ExtraBold" charset="0"/>
                <a:cs typeface="Work Sans ExtraBold" charset="0"/>
              </a:rPr>
              <a:t>Logement parc du bailleur</a:t>
            </a:r>
          </a:p>
        </p:txBody>
      </p:sp>
      <p:cxnSp>
        <p:nvCxnSpPr>
          <p:cNvPr id="51" name="Connecteur droit 50">
            <a:extLst>
              <a:ext uri="{FF2B5EF4-FFF2-40B4-BE49-F238E27FC236}">
                <a16:creationId xmlns:a16="http://schemas.microsoft.com/office/drawing/2014/main" id="{E78A8D9A-7FC3-4F42-AA4D-635E61A05D7D}"/>
              </a:ext>
            </a:extLst>
          </p:cNvPr>
          <p:cNvCxnSpPr>
            <a:cxnSpLocks/>
          </p:cNvCxnSpPr>
          <p:nvPr/>
        </p:nvCxnSpPr>
        <p:spPr>
          <a:xfrm>
            <a:off x="3824943" y="1721595"/>
            <a:ext cx="0" cy="4565341"/>
          </a:xfrm>
          <a:prstGeom prst="line">
            <a:avLst/>
          </a:prstGeom>
          <a:ln>
            <a:solidFill>
              <a:schemeClr val="tx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Connecteur droit 51">
            <a:extLst>
              <a:ext uri="{FF2B5EF4-FFF2-40B4-BE49-F238E27FC236}">
                <a16:creationId xmlns:a16="http://schemas.microsoft.com/office/drawing/2014/main" id="{370D4EC5-E53E-8943-A73A-3CE7AF5B7C8A}"/>
              </a:ext>
            </a:extLst>
          </p:cNvPr>
          <p:cNvCxnSpPr>
            <a:cxnSpLocks/>
          </p:cNvCxnSpPr>
          <p:nvPr/>
        </p:nvCxnSpPr>
        <p:spPr>
          <a:xfrm>
            <a:off x="8115065" y="1630389"/>
            <a:ext cx="0" cy="4712896"/>
          </a:xfrm>
          <a:prstGeom prst="line">
            <a:avLst/>
          </a:prstGeom>
          <a:ln>
            <a:solidFill>
              <a:schemeClr val="tx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2" name="Connecteur : en arc 40">
            <a:extLst>
              <a:ext uri="{FF2B5EF4-FFF2-40B4-BE49-F238E27FC236}">
                <a16:creationId xmlns:a16="http://schemas.microsoft.com/office/drawing/2014/main" id="{330D727D-8850-7B44-B53C-2C889306B47A}"/>
              </a:ext>
            </a:extLst>
          </p:cNvPr>
          <p:cNvCxnSpPr>
            <a:cxnSpLocks/>
            <a:stCxn id="37" idx="3"/>
          </p:cNvCxnSpPr>
          <p:nvPr/>
        </p:nvCxnSpPr>
        <p:spPr>
          <a:xfrm flipV="1">
            <a:off x="9278126" y="1488274"/>
            <a:ext cx="1710132" cy="1142519"/>
          </a:xfrm>
          <a:prstGeom prst="curvedConnector3">
            <a:avLst>
              <a:gd name="adj1" fmla="val 50000"/>
            </a:avLst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8" name="Graphique 47" descr="Utilisateur">
            <a:extLst>
              <a:ext uri="{FF2B5EF4-FFF2-40B4-BE49-F238E27FC236}">
                <a16:creationId xmlns:a16="http://schemas.microsoft.com/office/drawing/2014/main" id="{140E332A-9B27-497C-8398-BCDAC082803A}"/>
              </a:ext>
            </a:extLst>
          </p:cNvPr>
          <p:cNvPicPr>
            <a:picLocks noChangeAspect="1"/>
          </p:cNvPicPr>
          <p:nvPr/>
        </p:nvPicPr>
        <p:blipFill>
          <a:blip r:embed="rId14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7242685" y="3095880"/>
            <a:ext cx="633905" cy="633905"/>
          </a:xfrm>
          <a:prstGeom prst="rect">
            <a:avLst/>
          </a:prstGeom>
        </p:spPr>
      </p:pic>
      <p:sp>
        <p:nvSpPr>
          <p:cNvPr id="53" name="ZoneTexte 52">
            <a:extLst>
              <a:ext uri="{FF2B5EF4-FFF2-40B4-BE49-F238E27FC236}">
                <a16:creationId xmlns:a16="http://schemas.microsoft.com/office/drawing/2014/main" id="{03AC90E4-C71C-48D6-BC13-6F078624C49B}"/>
              </a:ext>
            </a:extLst>
          </p:cNvPr>
          <p:cNvSpPr txBox="1"/>
          <p:nvPr/>
        </p:nvSpPr>
        <p:spPr>
          <a:xfrm>
            <a:off x="7064762" y="3668000"/>
            <a:ext cx="1142316" cy="3181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218072">
              <a:buClr>
                <a:srgbClr val="F6A924"/>
              </a:buClr>
            </a:pPr>
            <a:r>
              <a:rPr lang="fr-FR" sz="1467" dirty="0">
                <a:latin typeface="Marianne" panose="02000000000000000000" pitchFamily="2" charset="0"/>
                <a:ea typeface="Work Sans ExtraBold" charset="0"/>
                <a:cs typeface="Work Sans ExtraBold" charset="0"/>
              </a:rPr>
              <a:t>Candidat</a:t>
            </a:r>
          </a:p>
        </p:txBody>
      </p:sp>
    </p:spTree>
    <p:extLst>
      <p:ext uri="{BB962C8B-B14F-4D97-AF65-F5344CB8AC3E}">
        <p14:creationId xmlns:p14="http://schemas.microsoft.com/office/powerpoint/2010/main" val="380013760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8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1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4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0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3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6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9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2" dur="5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3" fill="hold">
                      <p:stCondLst>
                        <p:cond delay="indefinite"/>
                      </p:stCondLst>
                      <p:childTnLst>
                        <p:par>
                          <p:cTn id="74" fill="hold">
                            <p:stCondLst>
                              <p:cond delay="0"/>
                            </p:stCondLst>
                            <p:childTnLst>
                              <p:par>
                                <p:cTn id="7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7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0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3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6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9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2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5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8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1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4" dur="5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7" dur="5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0" dur="5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3" dur="500"/>
                                        <p:tgtEl>
                                          <p:spTgt spid="10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6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9" dur="5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/>
      <p:bldP spid="13" grpId="0"/>
      <p:bldP spid="14" grpId="0"/>
      <p:bldP spid="18" grpId="0" animBg="1"/>
      <p:bldP spid="19" grpId="0"/>
      <p:bldP spid="20" grpId="0"/>
      <p:bldP spid="21" grpId="0" animBg="1"/>
      <p:bldP spid="23" grpId="0"/>
      <p:bldP spid="25" grpId="0"/>
      <p:bldP spid="30" grpId="0"/>
      <p:bldP spid="32" grpId="0"/>
      <p:bldP spid="33" grpId="0"/>
      <p:bldP spid="34" grpId="0" animBg="1"/>
      <p:bldP spid="38" grpId="0"/>
      <p:bldP spid="40" grpId="0"/>
      <p:bldP spid="45" grpId="0"/>
      <p:bldP spid="50" grpId="0"/>
      <p:bldP spid="53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re 4">
            <a:extLst>
              <a:ext uri="{FF2B5EF4-FFF2-40B4-BE49-F238E27FC236}">
                <a16:creationId xmlns:a16="http://schemas.microsoft.com/office/drawing/2014/main" id="{7FECE53A-9267-D842-B87E-F184AF518E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lIns="0" tIns="45720" rIns="0" bIns="45720" rtlCol="0" anchor="ctr">
            <a:normAutofit/>
          </a:bodyPr>
          <a:lstStyle/>
          <a:p>
            <a:r>
              <a:rPr lang="fr-FR" sz="4000" dirty="0">
                <a:latin typeface="Marianne" panose="02000000000000000000" pitchFamily="2" charset="0"/>
              </a:rPr>
              <a:t>Demain, la gestion en flux</a:t>
            </a:r>
          </a:p>
        </p:txBody>
      </p:sp>
      <p:pic>
        <p:nvPicPr>
          <p:cNvPr id="8" name="Graphique 7" descr="Maison">
            <a:extLst>
              <a:ext uri="{FF2B5EF4-FFF2-40B4-BE49-F238E27FC236}">
                <a16:creationId xmlns:a16="http://schemas.microsoft.com/office/drawing/2014/main" id="{348472CE-1F5D-F642-8997-DCFF67A1DF96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496365" y="3824212"/>
            <a:ext cx="288534" cy="288534"/>
          </a:xfrm>
          <a:prstGeom prst="rect">
            <a:avLst/>
          </a:prstGeom>
        </p:spPr>
      </p:pic>
      <p:pic>
        <p:nvPicPr>
          <p:cNvPr id="10" name="Graphique 9" descr="Utilisateur">
            <a:extLst>
              <a:ext uri="{FF2B5EF4-FFF2-40B4-BE49-F238E27FC236}">
                <a16:creationId xmlns:a16="http://schemas.microsoft.com/office/drawing/2014/main" id="{B3250BA7-5B01-FC4B-B0A3-93BB6BD75526}"/>
              </a:ext>
            </a:extLst>
          </p:cNvPr>
          <p:cNvPicPr>
            <a:picLocks noChangeAspect="1"/>
          </p:cNvPicPr>
          <p:nvPr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390360" y="2609758"/>
            <a:ext cx="633905" cy="633905"/>
          </a:xfrm>
          <a:prstGeom prst="rect">
            <a:avLst/>
          </a:prstGeom>
        </p:spPr>
      </p:pic>
      <p:sp>
        <p:nvSpPr>
          <p:cNvPr id="11" name="ZoneTexte 10">
            <a:extLst>
              <a:ext uri="{FF2B5EF4-FFF2-40B4-BE49-F238E27FC236}">
                <a16:creationId xmlns:a16="http://schemas.microsoft.com/office/drawing/2014/main" id="{84DDC340-B9C0-1847-A7AE-EC51DE106AFF}"/>
              </a:ext>
            </a:extLst>
          </p:cNvPr>
          <p:cNvSpPr txBox="1"/>
          <p:nvPr/>
        </p:nvSpPr>
        <p:spPr>
          <a:xfrm>
            <a:off x="224855" y="5023093"/>
            <a:ext cx="3568652" cy="76963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 defTabSz="1218072">
              <a:buClr>
                <a:srgbClr val="F6A924"/>
              </a:buClr>
            </a:pPr>
            <a:r>
              <a:rPr lang="fr-FR" sz="1467" dirty="0">
                <a:latin typeface="Marianne" panose="02000000000000000000" pitchFamily="2" charset="0"/>
                <a:ea typeface="Work Sans ExtraBold" charset="0"/>
                <a:cs typeface="Work Sans ExtraBold" charset="0"/>
              </a:rPr>
              <a:t>Le réservataire acquiert un droit en flux sur un logement non identifié en échange d’une somme d’argent ou d’une garantie</a:t>
            </a:r>
          </a:p>
        </p:txBody>
      </p:sp>
      <p:pic>
        <p:nvPicPr>
          <p:cNvPr id="12" name="Graphique 11" descr="Bâtiment">
            <a:extLst>
              <a:ext uri="{FF2B5EF4-FFF2-40B4-BE49-F238E27FC236}">
                <a16:creationId xmlns:a16="http://schemas.microsoft.com/office/drawing/2014/main" id="{80CB77A2-F7D1-2749-A278-04270C715A5F}"/>
              </a:ext>
            </a:extLst>
          </p:cNvPr>
          <p:cNvPicPr>
            <a:picLocks noChangeAspect="1"/>
          </p:cNvPicPr>
          <p:nvPr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2926518" y="2589742"/>
            <a:ext cx="633905" cy="633905"/>
          </a:xfrm>
          <a:prstGeom prst="rect">
            <a:avLst/>
          </a:prstGeom>
        </p:spPr>
      </p:pic>
      <p:sp>
        <p:nvSpPr>
          <p:cNvPr id="13" name="ZoneTexte 12">
            <a:extLst>
              <a:ext uri="{FF2B5EF4-FFF2-40B4-BE49-F238E27FC236}">
                <a16:creationId xmlns:a16="http://schemas.microsoft.com/office/drawing/2014/main" id="{126CFD9E-8633-8240-ADB7-534DBC3A552F}"/>
              </a:ext>
            </a:extLst>
          </p:cNvPr>
          <p:cNvSpPr txBox="1"/>
          <p:nvPr/>
        </p:nvSpPr>
        <p:spPr>
          <a:xfrm>
            <a:off x="47329" y="3141843"/>
            <a:ext cx="1497284" cy="3181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218072">
              <a:buClr>
                <a:srgbClr val="F6A924"/>
              </a:buClr>
            </a:pPr>
            <a:r>
              <a:rPr lang="fr-FR" sz="1467" dirty="0">
                <a:latin typeface="Marianne" panose="02000000000000000000" pitchFamily="2" charset="0"/>
                <a:ea typeface="Work Sans ExtraBold" charset="0"/>
                <a:cs typeface="Work Sans ExtraBold" charset="0"/>
              </a:rPr>
              <a:t>Réservataire</a:t>
            </a:r>
          </a:p>
        </p:txBody>
      </p:sp>
      <p:sp>
        <p:nvSpPr>
          <p:cNvPr id="14" name="ZoneTexte 13">
            <a:extLst>
              <a:ext uri="{FF2B5EF4-FFF2-40B4-BE49-F238E27FC236}">
                <a16:creationId xmlns:a16="http://schemas.microsoft.com/office/drawing/2014/main" id="{AB65E5B5-08F6-FC49-8E2D-8B705B258A5C}"/>
              </a:ext>
            </a:extLst>
          </p:cNvPr>
          <p:cNvSpPr txBox="1"/>
          <p:nvPr/>
        </p:nvSpPr>
        <p:spPr>
          <a:xfrm>
            <a:off x="2791498" y="3163217"/>
            <a:ext cx="1005460" cy="3181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218072">
              <a:buClr>
                <a:srgbClr val="F6A924"/>
              </a:buClr>
            </a:pPr>
            <a:r>
              <a:rPr lang="fr-FR" sz="1467" dirty="0">
                <a:latin typeface="Marianne" panose="02000000000000000000" pitchFamily="2" charset="0"/>
                <a:ea typeface="Work Sans ExtraBold" charset="0"/>
                <a:cs typeface="Work Sans ExtraBold" charset="0"/>
              </a:rPr>
              <a:t>Bailleur</a:t>
            </a:r>
          </a:p>
        </p:txBody>
      </p:sp>
      <p:pic>
        <p:nvPicPr>
          <p:cNvPr id="15" name="Graphique 14" descr="Pièces">
            <a:extLst>
              <a:ext uri="{FF2B5EF4-FFF2-40B4-BE49-F238E27FC236}">
                <a16:creationId xmlns:a16="http://schemas.microsoft.com/office/drawing/2014/main" id="{77D52FD8-CD85-E74B-B01D-7A9688666978}"/>
              </a:ext>
            </a:extLst>
          </p:cNvPr>
          <p:cNvPicPr>
            <a:picLocks noChangeAspect="1"/>
          </p:cNvPicPr>
          <p:nvPr/>
        </p:nvPicPr>
        <p:blipFill>
          <a:blip r:embed="rId8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733049" y="1689351"/>
            <a:ext cx="480231" cy="480231"/>
          </a:xfrm>
          <a:prstGeom prst="rect">
            <a:avLst/>
          </a:prstGeom>
        </p:spPr>
      </p:pic>
      <p:cxnSp>
        <p:nvCxnSpPr>
          <p:cNvPr id="16" name="Connecteur : en arc 23">
            <a:extLst>
              <a:ext uri="{FF2B5EF4-FFF2-40B4-BE49-F238E27FC236}">
                <a16:creationId xmlns:a16="http://schemas.microsoft.com/office/drawing/2014/main" id="{CCF3BF3B-C7FE-1D47-9EDA-9E31DCCD2E33}"/>
              </a:ext>
            </a:extLst>
          </p:cNvPr>
          <p:cNvCxnSpPr>
            <a:cxnSpLocks/>
            <a:stCxn id="10" idx="0"/>
            <a:endCxn id="12" idx="0"/>
          </p:cNvCxnSpPr>
          <p:nvPr/>
        </p:nvCxnSpPr>
        <p:spPr>
          <a:xfrm rot="5400000" flipH="1" flipV="1">
            <a:off x="1965383" y="1331673"/>
            <a:ext cx="20015" cy="2536159"/>
          </a:xfrm>
          <a:prstGeom prst="curvedConnector3">
            <a:avLst>
              <a:gd name="adj1" fmla="val 2256032"/>
            </a:avLst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Connecteur : en arc 26">
            <a:extLst>
              <a:ext uri="{FF2B5EF4-FFF2-40B4-BE49-F238E27FC236}">
                <a16:creationId xmlns:a16="http://schemas.microsoft.com/office/drawing/2014/main" id="{A9FB528C-BD5D-4D42-9D17-A0ECDA1612A5}"/>
              </a:ext>
            </a:extLst>
          </p:cNvPr>
          <p:cNvCxnSpPr>
            <a:cxnSpLocks/>
            <a:stCxn id="14" idx="2"/>
          </p:cNvCxnSpPr>
          <p:nvPr/>
        </p:nvCxnSpPr>
        <p:spPr>
          <a:xfrm rot="5400000" flipH="1">
            <a:off x="2025728" y="2212817"/>
            <a:ext cx="844" cy="2536157"/>
          </a:xfrm>
          <a:prstGeom prst="curvedConnector4">
            <a:avLst>
              <a:gd name="adj1" fmla="val -27085308"/>
              <a:gd name="adj2" fmla="val 59911"/>
            </a:avLst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Ellipse 17">
            <a:extLst>
              <a:ext uri="{FF2B5EF4-FFF2-40B4-BE49-F238E27FC236}">
                <a16:creationId xmlns:a16="http://schemas.microsoft.com/office/drawing/2014/main" id="{7ED241E6-C2CD-784E-A826-950195EB7D88}"/>
              </a:ext>
            </a:extLst>
          </p:cNvPr>
          <p:cNvSpPr/>
          <p:nvPr/>
        </p:nvSpPr>
        <p:spPr>
          <a:xfrm>
            <a:off x="332370" y="4609948"/>
            <a:ext cx="384185" cy="384185"/>
          </a:xfrm>
          <a:prstGeom prst="ellipse">
            <a:avLst/>
          </a:prstGeom>
          <a:solidFill>
            <a:srgbClr val="01396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8072"/>
            <a:r>
              <a:rPr lang="fr-FR" sz="2135" dirty="0">
                <a:solidFill>
                  <a:schemeClr val="bg1"/>
                </a:solidFill>
                <a:latin typeface="Marianne" panose="02000000000000000000" pitchFamily="2" charset="0"/>
              </a:rPr>
              <a:t>1</a:t>
            </a:r>
            <a:endParaRPr lang="fr-FR" sz="2401" dirty="0">
              <a:solidFill>
                <a:schemeClr val="bg1"/>
              </a:solidFill>
              <a:latin typeface="Marianne" panose="02000000000000000000" pitchFamily="2" charset="0"/>
            </a:endParaRPr>
          </a:p>
        </p:txBody>
      </p:sp>
      <p:sp>
        <p:nvSpPr>
          <p:cNvPr id="19" name="ZoneTexte 18">
            <a:extLst>
              <a:ext uri="{FF2B5EF4-FFF2-40B4-BE49-F238E27FC236}">
                <a16:creationId xmlns:a16="http://schemas.microsoft.com/office/drawing/2014/main" id="{E6A5C350-FAA7-5348-9BD1-D8C4BA8FEF50}"/>
              </a:ext>
            </a:extLst>
          </p:cNvPr>
          <p:cNvSpPr txBox="1"/>
          <p:nvPr/>
        </p:nvSpPr>
        <p:spPr>
          <a:xfrm>
            <a:off x="1350849" y="4293356"/>
            <a:ext cx="1234264" cy="54386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1218072">
              <a:buClr>
                <a:srgbClr val="F6A924"/>
              </a:buClr>
            </a:pPr>
            <a:r>
              <a:rPr lang="fr-FR" sz="1467" dirty="0">
                <a:latin typeface="Marianne" panose="02000000000000000000" pitchFamily="2" charset="0"/>
                <a:ea typeface="Work Sans ExtraBold" charset="0"/>
                <a:cs typeface="Work Sans ExtraBold" charset="0"/>
              </a:rPr>
              <a:t>Part du flux libéré</a:t>
            </a:r>
          </a:p>
        </p:txBody>
      </p:sp>
      <p:sp>
        <p:nvSpPr>
          <p:cNvPr id="20" name="ZoneTexte 19">
            <a:extLst>
              <a:ext uri="{FF2B5EF4-FFF2-40B4-BE49-F238E27FC236}">
                <a16:creationId xmlns:a16="http://schemas.microsoft.com/office/drawing/2014/main" id="{E96D9089-B190-8E4B-9563-6CE8F2EA5B2A}"/>
              </a:ext>
            </a:extLst>
          </p:cNvPr>
          <p:cNvSpPr txBox="1"/>
          <p:nvPr/>
        </p:nvSpPr>
        <p:spPr>
          <a:xfrm>
            <a:off x="3997045" y="5039563"/>
            <a:ext cx="3841847" cy="99540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 defTabSz="1218072">
              <a:buClr>
                <a:srgbClr val="F6A924"/>
              </a:buClr>
            </a:pPr>
            <a:r>
              <a:rPr lang="fr-FR" sz="1467" dirty="0">
                <a:latin typeface="Marianne" panose="02000000000000000000" pitchFamily="2" charset="0"/>
                <a:ea typeface="Work Sans ExtraBold" charset="0"/>
                <a:cs typeface="Work Sans ExtraBold" charset="0"/>
              </a:rPr>
              <a:t>Le bailleur propose un logement au réservataire, qui propose à son tour un candidat au bailleur. La candidature est examinée en CALEOL pour attribution</a:t>
            </a:r>
          </a:p>
        </p:txBody>
      </p:sp>
      <p:sp>
        <p:nvSpPr>
          <p:cNvPr id="21" name="Ellipse 20">
            <a:extLst>
              <a:ext uri="{FF2B5EF4-FFF2-40B4-BE49-F238E27FC236}">
                <a16:creationId xmlns:a16="http://schemas.microsoft.com/office/drawing/2014/main" id="{A4A70BD2-80D5-C84D-A977-B48C6B790593}"/>
              </a:ext>
            </a:extLst>
          </p:cNvPr>
          <p:cNvSpPr/>
          <p:nvPr/>
        </p:nvSpPr>
        <p:spPr>
          <a:xfrm>
            <a:off x="4087697" y="4607797"/>
            <a:ext cx="384185" cy="384185"/>
          </a:xfrm>
          <a:prstGeom prst="ellipse">
            <a:avLst/>
          </a:prstGeom>
          <a:solidFill>
            <a:srgbClr val="01396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8072"/>
            <a:r>
              <a:rPr lang="fr-FR" sz="2135" dirty="0">
                <a:solidFill>
                  <a:schemeClr val="bg1"/>
                </a:solidFill>
                <a:latin typeface="Marianne" panose="02000000000000000000" pitchFamily="2" charset="0"/>
              </a:rPr>
              <a:t>2</a:t>
            </a:r>
            <a:endParaRPr lang="fr-FR" sz="2401" dirty="0">
              <a:solidFill>
                <a:schemeClr val="bg1"/>
              </a:solidFill>
              <a:latin typeface="Marianne" panose="02000000000000000000" pitchFamily="2" charset="0"/>
            </a:endParaRPr>
          </a:p>
        </p:txBody>
      </p:sp>
      <p:pic>
        <p:nvPicPr>
          <p:cNvPr id="22" name="Graphique 21" descr="Utilisateur">
            <a:extLst>
              <a:ext uri="{FF2B5EF4-FFF2-40B4-BE49-F238E27FC236}">
                <a16:creationId xmlns:a16="http://schemas.microsoft.com/office/drawing/2014/main" id="{90CDF5B2-0475-E34F-A2CA-C4A1DFEF6019}"/>
              </a:ext>
            </a:extLst>
          </p:cNvPr>
          <p:cNvPicPr>
            <a:picLocks noChangeAspect="1"/>
          </p:cNvPicPr>
          <p:nvPr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4281620" y="3024317"/>
            <a:ext cx="633905" cy="633905"/>
          </a:xfrm>
          <a:prstGeom prst="rect">
            <a:avLst/>
          </a:prstGeom>
        </p:spPr>
      </p:pic>
      <p:sp>
        <p:nvSpPr>
          <p:cNvPr id="23" name="ZoneTexte 22">
            <a:extLst>
              <a:ext uri="{FF2B5EF4-FFF2-40B4-BE49-F238E27FC236}">
                <a16:creationId xmlns:a16="http://schemas.microsoft.com/office/drawing/2014/main" id="{0C0EB845-8B38-A248-A8C9-978DD4047C35}"/>
              </a:ext>
            </a:extLst>
          </p:cNvPr>
          <p:cNvSpPr txBox="1"/>
          <p:nvPr/>
        </p:nvSpPr>
        <p:spPr>
          <a:xfrm>
            <a:off x="3849931" y="3585952"/>
            <a:ext cx="1497284" cy="3181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218072">
              <a:buClr>
                <a:srgbClr val="F6A924"/>
              </a:buClr>
            </a:pPr>
            <a:r>
              <a:rPr lang="fr-FR" sz="1467" dirty="0">
                <a:latin typeface="Marianne" panose="02000000000000000000" pitchFamily="2" charset="0"/>
                <a:ea typeface="Work Sans ExtraBold" charset="0"/>
                <a:cs typeface="Work Sans ExtraBold" charset="0"/>
              </a:rPr>
              <a:t>Réservataire</a:t>
            </a:r>
          </a:p>
        </p:txBody>
      </p:sp>
      <p:pic>
        <p:nvPicPr>
          <p:cNvPr id="24" name="Graphique 23" descr="Bâtiment">
            <a:extLst>
              <a:ext uri="{FF2B5EF4-FFF2-40B4-BE49-F238E27FC236}">
                <a16:creationId xmlns:a16="http://schemas.microsoft.com/office/drawing/2014/main" id="{9D861246-6A7D-804F-9E34-02481D7A24B5}"/>
              </a:ext>
            </a:extLst>
          </p:cNvPr>
          <p:cNvPicPr>
            <a:picLocks noChangeAspect="1"/>
          </p:cNvPicPr>
          <p:nvPr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5836570" y="2985957"/>
            <a:ext cx="633905" cy="633905"/>
          </a:xfrm>
          <a:prstGeom prst="rect">
            <a:avLst/>
          </a:prstGeom>
        </p:spPr>
      </p:pic>
      <p:sp>
        <p:nvSpPr>
          <p:cNvPr id="25" name="ZoneTexte 24">
            <a:extLst>
              <a:ext uri="{FF2B5EF4-FFF2-40B4-BE49-F238E27FC236}">
                <a16:creationId xmlns:a16="http://schemas.microsoft.com/office/drawing/2014/main" id="{29C3D831-0B49-0B44-B28A-F7524A7CA2CD}"/>
              </a:ext>
            </a:extLst>
          </p:cNvPr>
          <p:cNvSpPr txBox="1"/>
          <p:nvPr/>
        </p:nvSpPr>
        <p:spPr>
          <a:xfrm>
            <a:off x="5650793" y="3619863"/>
            <a:ext cx="1005460" cy="3181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218072">
              <a:buClr>
                <a:srgbClr val="F6A924"/>
              </a:buClr>
            </a:pPr>
            <a:r>
              <a:rPr lang="fr-FR" sz="1467" dirty="0">
                <a:latin typeface="Marianne" panose="02000000000000000000" pitchFamily="2" charset="0"/>
                <a:ea typeface="Work Sans ExtraBold" charset="0"/>
                <a:cs typeface="Work Sans ExtraBold" charset="0"/>
              </a:rPr>
              <a:t>Bailleur</a:t>
            </a:r>
          </a:p>
        </p:txBody>
      </p:sp>
      <p:cxnSp>
        <p:nvCxnSpPr>
          <p:cNvPr id="28" name="Connecteur : en arc 40">
            <a:extLst>
              <a:ext uri="{FF2B5EF4-FFF2-40B4-BE49-F238E27FC236}">
                <a16:creationId xmlns:a16="http://schemas.microsoft.com/office/drawing/2014/main" id="{75242AC4-932C-F743-A3D2-88276B0FE7D2}"/>
              </a:ext>
            </a:extLst>
          </p:cNvPr>
          <p:cNvCxnSpPr>
            <a:cxnSpLocks/>
            <a:stCxn id="22" idx="0"/>
            <a:endCxn id="24" idx="0"/>
          </p:cNvCxnSpPr>
          <p:nvPr/>
        </p:nvCxnSpPr>
        <p:spPr>
          <a:xfrm rot="5400000" flipH="1" flipV="1">
            <a:off x="5356867" y="2227661"/>
            <a:ext cx="38360" cy="1554952"/>
          </a:xfrm>
          <a:prstGeom prst="curvedConnector3">
            <a:avLst>
              <a:gd name="adj1" fmla="val 894965"/>
            </a:avLst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ZoneTexte 29">
            <a:extLst>
              <a:ext uri="{FF2B5EF4-FFF2-40B4-BE49-F238E27FC236}">
                <a16:creationId xmlns:a16="http://schemas.microsoft.com/office/drawing/2014/main" id="{F85DFF55-B0D9-CE46-99C1-E5B064BA5A44}"/>
              </a:ext>
            </a:extLst>
          </p:cNvPr>
          <p:cNvSpPr txBox="1"/>
          <p:nvPr/>
        </p:nvSpPr>
        <p:spPr>
          <a:xfrm>
            <a:off x="4730240" y="2041906"/>
            <a:ext cx="1305423" cy="54386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1218072">
              <a:buClr>
                <a:srgbClr val="F6A924"/>
              </a:buClr>
            </a:pPr>
            <a:r>
              <a:rPr lang="fr-FR" sz="1467" dirty="0">
                <a:latin typeface="Marianne" panose="02000000000000000000" pitchFamily="2" charset="0"/>
                <a:ea typeface="Work Sans ExtraBold" charset="0"/>
                <a:cs typeface="Work Sans ExtraBold" charset="0"/>
              </a:rPr>
              <a:t>Propose un candidat</a:t>
            </a:r>
          </a:p>
        </p:txBody>
      </p:sp>
      <p:cxnSp>
        <p:nvCxnSpPr>
          <p:cNvPr id="31" name="Connecteur : en arc 45">
            <a:extLst>
              <a:ext uri="{FF2B5EF4-FFF2-40B4-BE49-F238E27FC236}">
                <a16:creationId xmlns:a16="http://schemas.microsoft.com/office/drawing/2014/main" id="{FF4CE290-31F3-C547-8604-06DB2E6402A9}"/>
              </a:ext>
            </a:extLst>
          </p:cNvPr>
          <p:cNvCxnSpPr>
            <a:cxnSpLocks/>
            <a:stCxn id="24" idx="0"/>
          </p:cNvCxnSpPr>
          <p:nvPr/>
        </p:nvCxnSpPr>
        <p:spPr>
          <a:xfrm rot="16200000" flipH="1">
            <a:off x="6780859" y="2358622"/>
            <a:ext cx="119683" cy="1374356"/>
          </a:xfrm>
          <a:prstGeom prst="curvedConnector3">
            <a:avLst>
              <a:gd name="adj1" fmla="val -254796"/>
            </a:avLst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ZoneTexte 31">
            <a:extLst>
              <a:ext uri="{FF2B5EF4-FFF2-40B4-BE49-F238E27FC236}">
                <a16:creationId xmlns:a16="http://schemas.microsoft.com/office/drawing/2014/main" id="{9A09367C-AB4E-9B4B-A050-AF0969BDF2A2}"/>
              </a:ext>
            </a:extLst>
          </p:cNvPr>
          <p:cNvSpPr txBox="1"/>
          <p:nvPr/>
        </p:nvSpPr>
        <p:spPr>
          <a:xfrm>
            <a:off x="6340297" y="1916598"/>
            <a:ext cx="1843072" cy="76963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1218072">
              <a:buClr>
                <a:srgbClr val="F6A924"/>
              </a:buClr>
            </a:pPr>
            <a:r>
              <a:rPr lang="fr-FR" sz="1467" dirty="0">
                <a:latin typeface="Marianne" panose="02000000000000000000" pitchFamily="2" charset="0"/>
                <a:ea typeface="Work Sans ExtraBold" charset="0"/>
                <a:cs typeface="Work Sans ExtraBold" charset="0"/>
              </a:rPr>
              <a:t>CALEOL : Attribue le logement</a:t>
            </a:r>
          </a:p>
          <a:p>
            <a:pPr algn="ctr" defTabSz="1218072">
              <a:buClr>
                <a:srgbClr val="F6A924"/>
              </a:buClr>
            </a:pPr>
            <a:r>
              <a:rPr lang="fr-FR" sz="1467" dirty="0">
                <a:latin typeface="Marianne" panose="02000000000000000000" pitchFamily="2" charset="0"/>
                <a:ea typeface="Work Sans ExtraBold" charset="0"/>
                <a:cs typeface="Work Sans ExtraBold" charset="0"/>
              </a:rPr>
              <a:t>réservé</a:t>
            </a:r>
          </a:p>
        </p:txBody>
      </p:sp>
      <p:sp>
        <p:nvSpPr>
          <p:cNvPr id="33" name="ZoneTexte 32">
            <a:extLst>
              <a:ext uri="{FF2B5EF4-FFF2-40B4-BE49-F238E27FC236}">
                <a16:creationId xmlns:a16="http://schemas.microsoft.com/office/drawing/2014/main" id="{73F32CBB-469C-8E48-A0BC-555EF619563B}"/>
              </a:ext>
            </a:extLst>
          </p:cNvPr>
          <p:cNvSpPr txBox="1"/>
          <p:nvPr/>
        </p:nvSpPr>
        <p:spPr>
          <a:xfrm>
            <a:off x="8287166" y="5019942"/>
            <a:ext cx="3841847" cy="76963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 defTabSz="1218072">
              <a:buClr>
                <a:srgbClr val="F6A924"/>
              </a:buClr>
            </a:pPr>
            <a:r>
              <a:rPr lang="fr-FR" sz="1467" dirty="0">
                <a:latin typeface="Marianne" panose="02000000000000000000" pitchFamily="2" charset="0"/>
                <a:ea typeface="Work Sans ExtraBold" charset="0"/>
                <a:cs typeface="Work Sans ExtraBold" charset="0"/>
              </a:rPr>
              <a:t>Au départ du locataire le logement revient dans le flux et le bailleur peut le proposer à d’autres réservataires</a:t>
            </a:r>
          </a:p>
        </p:txBody>
      </p:sp>
      <p:sp>
        <p:nvSpPr>
          <p:cNvPr id="34" name="Ellipse 33">
            <a:extLst>
              <a:ext uri="{FF2B5EF4-FFF2-40B4-BE49-F238E27FC236}">
                <a16:creationId xmlns:a16="http://schemas.microsoft.com/office/drawing/2014/main" id="{DD0D5955-4D3B-DF45-AF81-CC5161A8FE88}"/>
              </a:ext>
            </a:extLst>
          </p:cNvPr>
          <p:cNvSpPr/>
          <p:nvPr/>
        </p:nvSpPr>
        <p:spPr>
          <a:xfrm>
            <a:off x="8318067" y="4609910"/>
            <a:ext cx="384185" cy="384185"/>
          </a:xfrm>
          <a:prstGeom prst="ellipse">
            <a:avLst/>
          </a:prstGeom>
          <a:solidFill>
            <a:srgbClr val="01396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8072"/>
            <a:r>
              <a:rPr lang="fr-FR" sz="2135" dirty="0">
                <a:solidFill>
                  <a:schemeClr val="bg1"/>
                </a:solidFill>
                <a:latin typeface="Marianne" panose="02000000000000000000" pitchFamily="2" charset="0"/>
              </a:rPr>
              <a:t>3</a:t>
            </a:r>
            <a:endParaRPr lang="fr-FR" sz="2401" dirty="0">
              <a:solidFill>
                <a:schemeClr val="bg1"/>
              </a:solidFill>
              <a:latin typeface="Marianne" panose="02000000000000000000" pitchFamily="2" charset="0"/>
            </a:endParaRPr>
          </a:p>
        </p:txBody>
      </p:sp>
      <p:pic>
        <p:nvPicPr>
          <p:cNvPr id="37" name="Graphique 36" descr="Bâtiment">
            <a:extLst>
              <a:ext uri="{FF2B5EF4-FFF2-40B4-BE49-F238E27FC236}">
                <a16:creationId xmlns:a16="http://schemas.microsoft.com/office/drawing/2014/main" id="{FB0C27D1-2542-2242-83F1-BA384A041800}"/>
              </a:ext>
            </a:extLst>
          </p:cNvPr>
          <p:cNvPicPr>
            <a:picLocks noChangeAspect="1"/>
          </p:cNvPicPr>
          <p:nvPr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8638627" y="2846568"/>
            <a:ext cx="633905" cy="633905"/>
          </a:xfrm>
          <a:prstGeom prst="rect">
            <a:avLst/>
          </a:prstGeom>
        </p:spPr>
      </p:pic>
      <p:sp>
        <p:nvSpPr>
          <p:cNvPr id="38" name="ZoneTexte 37">
            <a:extLst>
              <a:ext uri="{FF2B5EF4-FFF2-40B4-BE49-F238E27FC236}">
                <a16:creationId xmlns:a16="http://schemas.microsoft.com/office/drawing/2014/main" id="{21705CD0-9CE1-5349-9D8E-1757F6606EF1}"/>
              </a:ext>
            </a:extLst>
          </p:cNvPr>
          <p:cNvSpPr txBox="1"/>
          <p:nvPr/>
        </p:nvSpPr>
        <p:spPr>
          <a:xfrm>
            <a:off x="8452849" y="3480473"/>
            <a:ext cx="1005460" cy="3181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218072">
              <a:buClr>
                <a:srgbClr val="F6A924"/>
              </a:buClr>
            </a:pPr>
            <a:r>
              <a:rPr lang="fr-FR" sz="1467" dirty="0">
                <a:latin typeface="Marianne" panose="02000000000000000000" pitchFamily="2" charset="0"/>
                <a:ea typeface="Work Sans ExtraBold" charset="0"/>
                <a:cs typeface="Work Sans ExtraBold" charset="0"/>
              </a:rPr>
              <a:t>Bailleur</a:t>
            </a:r>
          </a:p>
        </p:txBody>
      </p:sp>
      <p:pic>
        <p:nvPicPr>
          <p:cNvPr id="39" name="Graphique 38" descr="Utilisateur">
            <a:extLst>
              <a:ext uri="{FF2B5EF4-FFF2-40B4-BE49-F238E27FC236}">
                <a16:creationId xmlns:a16="http://schemas.microsoft.com/office/drawing/2014/main" id="{4E0DEDF5-3FB3-A545-A153-F13333514128}"/>
              </a:ext>
            </a:extLst>
          </p:cNvPr>
          <p:cNvPicPr>
            <a:picLocks noChangeAspect="1"/>
          </p:cNvPicPr>
          <p:nvPr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0664452" y="2355881"/>
            <a:ext cx="633905" cy="633905"/>
          </a:xfrm>
          <a:prstGeom prst="rect">
            <a:avLst/>
          </a:prstGeom>
        </p:spPr>
      </p:pic>
      <p:sp>
        <p:nvSpPr>
          <p:cNvPr id="40" name="ZoneTexte 39">
            <a:extLst>
              <a:ext uri="{FF2B5EF4-FFF2-40B4-BE49-F238E27FC236}">
                <a16:creationId xmlns:a16="http://schemas.microsoft.com/office/drawing/2014/main" id="{60503D91-63A1-BB4B-882C-38C690F13B5D}"/>
              </a:ext>
            </a:extLst>
          </p:cNvPr>
          <p:cNvSpPr txBox="1"/>
          <p:nvPr/>
        </p:nvSpPr>
        <p:spPr>
          <a:xfrm>
            <a:off x="10434570" y="2959451"/>
            <a:ext cx="1497284" cy="3181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218072">
              <a:buClr>
                <a:srgbClr val="F6A924"/>
              </a:buClr>
            </a:pPr>
            <a:r>
              <a:rPr lang="fr-FR" sz="1467" dirty="0">
                <a:latin typeface="Marianne" panose="02000000000000000000" pitchFamily="2" charset="0"/>
                <a:ea typeface="Work Sans ExtraBold" charset="0"/>
                <a:cs typeface="Work Sans ExtraBold" charset="0"/>
              </a:rPr>
              <a:t>Réservataire</a:t>
            </a:r>
          </a:p>
        </p:txBody>
      </p:sp>
      <p:sp>
        <p:nvSpPr>
          <p:cNvPr id="50" name="ZoneTexte 49">
            <a:extLst>
              <a:ext uri="{FF2B5EF4-FFF2-40B4-BE49-F238E27FC236}">
                <a16:creationId xmlns:a16="http://schemas.microsoft.com/office/drawing/2014/main" id="{18AFAE81-73AE-0044-82E4-654FBE2F8727}"/>
              </a:ext>
            </a:extLst>
          </p:cNvPr>
          <p:cNvSpPr txBox="1"/>
          <p:nvPr/>
        </p:nvSpPr>
        <p:spPr>
          <a:xfrm>
            <a:off x="9125783" y="2131352"/>
            <a:ext cx="1327574" cy="54386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1218072">
              <a:buClr>
                <a:srgbClr val="F6A924"/>
              </a:buClr>
            </a:pPr>
            <a:r>
              <a:rPr lang="fr-FR" sz="1467" dirty="0">
                <a:latin typeface="Marianne" panose="02000000000000000000" pitchFamily="2" charset="0"/>
                <a:ea typeface="Work Sans ExtraBold" charset="0"/>
                <a:cs typeface="Work Sans ExtraBold" charset="0"/>
              </a:rPr>
              <a:t>Propose le logement</a:t>
            </a:r>
          </a:p>
        </p:txBody>
      </p:sp>
      <p:cxnSp>
        <p:nvCxnSpPr>
          <p:cNvPr id="51" name="Connecteur droit 50">
            <a:extLst>
              <a:ext uri="{FF2B5EF4-FFF2-40B4-BE49-F238E27FC236}">
                <a16:creationId xmlns:a16="http://schemas.microsoft.com/office/drawing/2014/main" id="{E78A8D9A-7FC3-4F42-AA4D-635E61A05D7D}"/>
              </a:ext>
            </a:extLst>
          </p:cNvPr>
          <p:cNvCxnSpPr>
            <a:cxnSpLocks/>
          </p:cNvCxnSpPr>
          <p:nvPr/>
        </p:nvCxnSpPr>
        <p:spPr>
          <a:xfrm>
            <a:off x="3824943" y="1721595"/>
            <a:ext cx="0" cy="4565341"/>
          </a:xfrm>
          <a:prstGeom prst="line">
            <a:avLst/>
          </a:prstGeom>
          <a:ln>
            <a:solidFill>
              <a:schemeClr val="tx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Connecteur droit 51">
            <a:extLst>
              <a:ext uri="{FF2B5EF4-FFF2-40B4-BE49-F238E27FC236}">
                <a16:creationId xmlns:a16="http://schemas.microsoft.com/office/drawing/2014/main" id="{370D4EC5-E53E-8943-A73A-3CE7AF5B7C8A}"/>
              </a:ext>
            </a:extLst>
          </p:cNvPr>
          <p:cNvCxnSpPr>
            <a:cxnSpLocks/>
          </p:cNvCxnSpPr>
          <p:nvPr/>
        </p:nvCxnSpPr>
        <p:spPr>
          <a:xfrm>
            <a:off x="8115065" y="1630389"/>
            <a:ext cx="0" cy="4712896"/>
          </a:xfrm>
          <a:prstGeom prst="line">
            <a:avLst/>
          </a:prstGeom>
          <a:ln>
            <a:solidFill>
              <a:schemeClr val="tx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2" name="Connecteur : en arc 40">
            <a:extLst>
              <a:ext uri="{FF2B5EF4-FFF2-40B4-BE49-F238E27FC236}">
                <a16:creationId xmlns:a16="http://schemas.microsoft.com/office/drawing/2014/main" id="{330D727D-8850-7B44-B53C-2C889306B47A}"/>
              </a:ext>
            </a:extLst>
          </p:cNvPr>
          <p:cNvCxnSpPr>
            <a:cxnSpLocks/>
            <a:stCxn id="37" idx="3"/>
          </p:cNvCxnSpPr>
          <p:nvPr/>
        </p:nvCxnSpPr>
        <p:spPr>
          <a:xfrm flipV="1">
            <a:off x="9272532" y="2702310"/>
            <a:ext cx="1085074" cy="461211"/>
          </a:xfrm>
          <a:prstGeom prst="curvedConnector3">
            <a:avLst>
              <a:gd name="adj1" fmla="val 50000"/>
            </a:avLst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8" name="Graphique 47" descr="Maison">
            <a:extLst>
              <a:ext uri="{FF2B5EF4-FFF2-40B4-BE49-F238E27FC236}">
                <a16:creationId xmlns:a16="http://schemas.microsoft.com/office/drawing/2014/main" id="{16DA2FD6-D0FD-4C3E-8CD5-69C97F0A3ADC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742133" y="4028643"/>
            <a:ext cx="288534" cy="288534"/>
          </a:xfrm>
          <a:prstGeom prst="rect">
            <a:avLst/>
          </a:prstGeom>
        </p:spPr>
      </p:pic>
      <p:pic>
        <p:nvPicPr>
          <p:cNvPr id="53" name="Graphique 52" descr="Maison">
            <a:extLst>
              <a:ext uri="{FF2B5EF4-FFF2-40B4-BE49-F238E27FC236}">
                <a16:creationId xmlns:a16="http://schemas.microsoft.com/office/drawing/2014/main" id="{25B65B69-D632-4AA4-85D3-CA0C7FF88FE4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949881" y="3808717"/>
            <a:ext cx="288534" cy="288534"/>
          </a:xfrm>
          <a:prstGeom prst="rect">
            <a:avLst/>
          </a:prstGeom>
        </p:spPr>
      </p:pic>
      <p:pic>
        <p:nvPicPr>
          <p:cNvPr id="54" name="Graphique 53" descr="Utilisateur">
            <a:extLst>
              <a:ext uri="{FF2B5EF4-FFF2-40B4-BE49-F238E27FC236}">
                <a16:creationId xmlns:a16="http://schemas.microsoft.com/office/drawing/2014/main" id="{0FF84AEF-D640-4EB6-B48E-2676151E1FA0}"/>
              </a:ext>
            </a:extLst>
          </p:cNvPr>
          <p:cNvPicPr>
            <a:picLocks noChangeAspect="1"/>
          </p:cNvPicPr>
          <p:nvPr/>
        </p:nvPicPr>
        <p:blipFill>
          <a:blip r:embed="rId11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7242685" y="3078152"/>
            <a:ext cx="633905" cy="633905"/>
          </a:xfrm>
          <a:prstGeom prst="rect">
            <a:avLst/>
          </a:prstGeom>
        </p:spPr>
      </p:pic>
      <p:sp>
        <p:nvSpPr>
          <p:cNvPr id="55" name="ZoneTexte 54">
            <a:extLst>
              <a:ext uri="{FF2B5EF4-FFF2-40B4-BE49-F238E27FC236}">
                <a16:creationId xmlns:a16="http://schemas.microsoft.com/office/drawing/2014/main" id="{0B8413ED-00F1-4931-9398-C3F08CF103D5}"/>
              </a:ext>
            </a:extLst>
          </p:cNvPr>
          <p:cNvSpPr txBox="1"/>
          <p:nvPr/>
        </p:nvSpPr>
        <p:spPr>
          <a:xfrm>
            <a:off x="7064762" y="3650272"/>
            <a:ext cx="1142316" cy="3181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218072">
              <a:buClr>
                <a:srgbClr val="F6A924"/>
              </a:buClr>
            </a:pPr>
            <a:r>
              <a:rPr lang="fr-FR" sz="1467" dirty="0">
                <a:latin typeface="Marianne" panose="02000000000000000000" pitchFamily="2" charset="0"/>
                <a:ea typeface="Work Sans ExtraBold" charset="0"/>
                <a:cs typeface="Work Sans ExtraBold" charset="0"/>
              </a:rPr>
              <a:t>Candidat</a:t>
            </a:r>
          </a:p>
        </p:txBody>
      </p:sp>
    </p:spTree>
    <p:extLst>
      <p:ext uri="{BB962C8B-B14F-4D97-AF65-F5344CB8AC3E}">
        <p14:creationId xmlns:p14="http://schemas.microsoft.com/office/powerpoint/2010/main" val="284477543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8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1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4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0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3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6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9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2" dur="5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3" fill="hold">
                      <p:stCondLst>
                        <p:cond delay="indefinite"/>
                      </p:stCondLst>
                      <p:childTnLst>
                        <p:par>
                          <p:cTn id="74" fill="hold">
                            <p:stCondLst>
                              <p:cond delay="0"/>
                            </p:stCondLst>
                            <p:childTnLst>
                              <p:par>
                                <p:cTn id="7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7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0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3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6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9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2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5" dur="5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8" dur="5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1" dur="500"/>
                                        <p:tgtEl>
                                          <p:spTgt spid="10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2" fill="hold">
                      <p:stCondLst>
                        <p:cond delay="indefinite"/>
                      </p:stCondLst>
                      <p:childTnLst>
                        <p:par>
                          <p:cTn id="103" fill="hold">
                            <p:stCondLst>
                              <p:cond delay="0"/>
                            </p:stCondLst>
                            <p:childTnLst>
                              <p:par>
                                <p:cTn id="104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6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7" fill="hold">
                      <p:stCondLst>
                        <p:cond delay="indefinite"/>
                      </p:stCondLst>
                      <p:childTnLst>
                        <p:par>
                          <p:cTn id="108" fill="hold">
                            <p:stCondLst>
                              <p:cond delay="0"/>
                            </p:stCondLst>
                            <p:childTnLst>
                              <p:par>
                                <p:cTn id="109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1" dur="5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4" dur="5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7" dur="50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/>
      <p:bldP spid="13" grpId="0"/>
      <p:bldP spid="14" grpId="0"/>
      <p:bldP spid="18" grpId="0" animBg="1"/>
      <p:bldP spid="19" grpId="0"/>
      <p:bldP spid="20" grpId="0"/>
      <p:bldP spid="21" grpId="0" animBg="1"/>
      <p:bldP spid="23" grpId="0"/>
      <p:bldP spid="25" grpId="0"/>
      <p:bldP spid="30" grpId="0"/>
      <p:bldP spid="32" grpId="0"/>
      <p:bldP spid="33" grpId="0"/>
      <p:bldP spid="34" grpId="0" animBg="1"/>
      <p:bldP spid="38" grpId="0"/>
      <p:bldP spid="40" grpId="0"/>
      <p:bldP spid="50" grpId="0"/>
      <p:bldP spid="55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Titre 4">
            <a:extLst>
              <a:ext uri="{FF2B5EF4-FFF2-40B4-BE49-F238E27FC236}">
                <a16:creationId xmlns:a16="http://schemas.microsoft.com/office/drawing/2014/main" id="{5EE8790E-7B68-47E0-941F-4C2E4A267DC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3986" y="96185"/>
            <a:ext cx="11344031" cy="1325563"/>
          </a:xfrm>
        </p:spPr>
        <p:txBody>
          <a:bodyPr vert="horz" lIns="0" tIns="45720" rIns="0" bIns="45720" rtlCol="0" anchor="ctr">
            <a:normAutofit/>
          </a:bodyPr>
          <a:lstStyle/>
          <a:p>
            <a:r>
              <a:rPr lang="fr-FR" sz="4000" dirty="0">
                <a:latin typeface="Marianne" panose="02000000000000000000" pitchFamily="2" charset="0"/>
              </a:rPr>
              <a:t>Gestion </a:t>
            </a:r>
            <a:r>
              <a:rPr lang="fr-FR" sz="4000" dirty="0" smtClean="0">
                <a:latin typeface="Marianne" panose="02000000000000000000" pitchFamily="2" charset="0"/>
              </a:rPr>
              <a:t>en </a:t>
            </a:r>
            <a:r>
              <a:rPr lang="fr-FR" sz="4000" dirty="0">
                <a:latin typeface="Marianne" panose="02000000000000000000" pitchFamily="2" charset="0"/>
              </a:rPr>
              <a:t>flux</a:t>
            </a:r>
          </a:p>
        </p:txBody>
      </p:sp>
      <p:pic>
        <p:nvPicPr>
          <p:cNvPr id="34" name="Graphique 47" descr="Maison">
            <a:extLst>
              <a:ext uri="{FF2B5EF4-FFF2-40B4-BE49-F238E27FC236}">
                <a16:creationId xmlns:a16="http://schemas.microsoft.com/office/drawing/2014/main" id="{A32332CB-E7F0-DC43-A686-FB8C44C28CC9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75535" y="3210443"/>
            <a:ext cx="480231" cy="480231"/>
          </a:xfrm>
          <a:prstGeom prst="rect">
            <a:avLst/>
          </a:prstGeom>
        </p:spPr>
      </p:pic>
      <p:pic>
        <p:nvPicPr>
          <p:cNvPr id="35" name="Graphique 52" descr="Utilisateur">
            <a:extLst>
              <a:ext uri="{FF2B5EF4-FFF2-40B4-BE49-F238E27FC236}">
                <a16:creationId xmlns:a16="http://schemas.microsoft.com/office/drawing/2014/main" id="{7666560B-B131-4243-849A-31B82995D583}"/>
              </a:ext>
            </a:extLst>
          </p:cNvPr>
          <p:cNvPicPr>
            <a:picLocks noChangeAspect="1"/>
          </p:cNvPicPr>
          <p:nvPr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9777341" y="2085942"/>
            <a:ext cx="633905" cy="633905"/>
          </a:xfrm>
          <a:prstGeom prst="rect">
            <a:avLst/>
          </a:prstGeom>
        </p:spPr>
      </p:pic>
      <p:pic>
        <p:nvPicPr>
          <p:cNvPr id="36" name="Graphique 53" descr="Bâtiment">
            <a:extLst>
              <a:ext uri="{FF2B5EF4-FFF2-40B4-BE49-F238E27FC236}">
                <a16:creationId xmlns:a16="http://schemas.microsoft.com/office/drawing/2014/main" id="{AF1D9A07-46E0-D847-8DA3-27FA49201DCD}"/>
              </a:ext>
            </a:extLst>
          </p:cNvPr>
          <p:cNvPicPr>
            <a:picLocks noChangeAspect="1"/>
          </p:cNvPicPr>
          <p:nvPr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7362537" y="4646100"/>
            <a:ext cx="633905" cy="633905"/>
          </a:xfrm>
          <a:prstGeom prst="rect">
            <a:avLst/>
          </a:prstGeom>
        </p:spPr>
      </p:pic>
      <p:sp>
        <p:nvSpPr>
          <p:cNvPr id="37" name="ZoneTexte 36">
            <a:extLst>
              <a:ext uri="{FF2B5EF4-FFF2-40B4-BE49-F238E27FC236}">
                <a16:creationId xmlns:a16="http://schemas.microsoft.com/office/drawing/2014/main" id="{219BF4B9-9BF3-6242-A18C-E7C297DB5C47}"/>
              </a:ext>
            </a:extLst>
          </p:cNvPr>
          <p:cNvSpPr txBox="1"/>
          <p:nvPr/>
        </p:nvSpPr>
        <p:spPr>
          <a:xfrm>
            <a:off x="3407701" y="2626328"/>
            <a:ext cx="2496774" cy="31810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1218072">
              <a:buClr>
                <a:srgbClr val="F6A924"/>
              </a:buClr>
            </a:pPr>
            <a:r>
              <a:rPr lang="fr-FR" sz="1467">
                <a:latin typeface="Marianne" panose="02000000000000000000" pitchFamily="2" charset="0"/>
                <a:ea typeface="Work Sans ExtraBold" charset="0"/>
                <a:cs typeface="Work Sans ExtraBold" charset="0"/>
              </a:rPr>
              <a:t>Logements dans l’assiette</a:t>
            </a:r>
          </a:p>
        </p:txBody>
      </p:sp>
      <p:sp>
        <p:nvSpPr>
          <p:cNvPr id="38" name="ZoneTexte 37">
            <a:extLst>
              <a:ext uri="{FF2B5EF4-FFF2-40B4-BE49-F238E27FC236}">
                <a16:creationId xmlns:a16="http://schemas.microsoft.com/office/drawing/2014/main" id="{207E4A3E-8C0C-E048-8D7B-AED11FD7FAB1}"/>
              </a:ext>
            </a:extLst>
          </p:cNvPr>
          <p:cNvSpPr txBox="1"/>
          <p:nvPr/>
        </p:nvSpPr>
        <p:spPr>
          <a:xfrm>
            <a:off x="534003" y="4309029"/>
            <a:ext cx="1226746" cy="54386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defTabSz="1218072">
              <a:buClr>
                <a:srgbClr val="F6A924"/>
              </a:buClr>
            </a:pPr>
            <a:r>
              <a:rPr lang="fr-FR" sz="1467">
                <a:latin typeface="Marianne" panose="02000000000000000000" pitchFamily="2" charset="0"/>
                <a:ea typeface="Work Sans ExtraBold" charset="0"/>
                <a:cs typeface="Work Sans ExtraBold" charset="0"/>
              </a:rPr>
              <a:t>Logements </a:t>
            </a:r>
          </a:p>
          <a:p>
            <a:pPr algn="ctr" defTabSz="1218072">
              <a:buClr>
                <a:srgbClr val="F6A924"/>
              </a:buClr>
            </a:pPr>
            <a:r>
              <a:rPr lang="fr-FR" sz="1467">
                <a:latin typeface="Marianne" panose="02000000000000000000" pitchFamily="2" charset="0"/>
                <a:ea typeface="Work Sans ExtraBold" charset="0"/>
                <a:cs typeface="Work Sans ExtraBold" charset="0"/>
              </a:rPr>
              <a:t>vacants</a:t>
            </a:r>
          </a:p>
        </p:txBody>
      </p:sp>
      <p:pic>
        <p:nvPicPr>
          <p:cNvPr id="39" name="Graphique 56" descr="Utilisateur">
            <a:extLst>
              <a:ext uri="{FF2B5EF4-FFF2-40B4-BE49-F238E27FC236}">
                <a16:creationId xmlns:a16="http://schemas.microsoft.com/office/drawing/2014/main" id="{3551A1F0-1A1F-3345-8D62-143DF7784837}"/>
              </a:ext>
            </a:extLst>
          </p:cNvPr>
          <p:cNvPicPr>
            <a:picLocks noChangeAspect="1"/>
          </p:cNvPicPr>
          <p:nvPr/>
        </p:nvPicPr>
        <p:blipFill>
          <a:blip r:embed="rId8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9784502" y="1267900"/>
            <a:ext cx="633905" cy="633905"/>
          </a:xfrm>
          <a:prstGeom prst="rect">
            <a:avLst/>
          </a:prstGeom>
        </p:spPr>
      </p:pic>
      <p:pic>
        <p:nvPicPr>
          <p:cNvPr id="40" name="Graphique 57" descr="Bâtiment">
            <a:extLst>
              <a:ext uri="{FF2B5EF4-FFF2-40B4-BE49-F238E27FC236}">
                <a16:creationId xmlns:a16="http://schemas.microsoft.com/office/drawing/2014/main" id="{516B3A3A-CF9C-0744-96C2-84BBED6E6736}"/>
              </a:ext>
            </a:extLst>
          </p:cNvPr>
          <p:cNvPicPr>
            <a:picLocks noChangeAspect="1"/>
          </p:cNvPicPr>
          <p:nvPr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7362538" y="2346637"/>
            <a:ext cx="633905" cy="633905"/>
          </a:xfrm>
          <a:prstGeom prst="rect">
            <a:avLst/>
          </a:prstGeom>
        </p:spPr>
      </p:pic>
      <p:sp>
        <p:nvSpPr>
          <p:cNvPr id="41" name="ZoneTexte 40">
            <a:extLst>
              <a:ext uri="{FF2B5EF4-FFF2-40B4-BE49-F238E27FC236}">
                <a16:creationId xmlns:a16="http://schemas.microsoft.com/office/drawing/2014/main" id="{20C371EF-079B-4D4B-971A-217068C426E0}"/>
              </a:ext>
            </a:extLst>
          </p:cNvPr>
          <p:cNvSpPr txBox="1"/>
          <p:nvPr/>
        </p:nvSpPr>
        <p:spPr>
          <a:xfrm>
            <a:off x="6311518" y="5294655"/>
            <a:ext cx="2760813" cy="99540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1218072">
              <a:buClr>
                <a:srgbClr val="F6A924"/>
              </a:buClr>
            </a:pPr>
            <a:r>
              <a:rPr lang="fr-FR" sz="1467" dirty="0">
                <a:latin typeface="Marianne" panose="02000000000000000000" pitchFamily="2" charset="0"/>
                <a:ea typeface="Work Sans ExtraBold" charset="0"/>
                <a:cs typeface="Work Sans ExtraBold" charset="0"/>
              </a:rPr>
              <a:t>Le bailleur extrait du flux les logements utiles aux mutations, aux relogements ANRU, </a:t>
            </a:r>
            <a:r>
              <a:rPr lang="fr-FR" sz="1467" dirty="0" smtClean="0">
                <a:latin typeface="Marianne" panose="02000000000000000000" pitchFamily="2" charset="0"/>
                <a:ea typeface="Work Sans ExtraBold" charset="0"/>
                <a:cs typeface="Work Sans ExtraBold" charset="0"/>
              </a:rPr>
              <a:t>ORCOD-IN </a:t>
            </a:r>
            <a:r>
              <a:rPr lang="fr-FR" sz="1467" dirty="0">
                <a:latin typeface="Marianne" panose="02000000000000000000" pitchFamily="2" charset="0"/>
                <a:ea typeface="Work Sans ExtraBold" charset="0"/>
                <a:cs typeface="Work Sans ExtraBold" charset="0"/>
              </a:rPr>
              <a:t>ou LHI </a:t>
            </a:r>
          </a:p>
        </p:txBody>
      </p:sp>
      <p:pic>
        <p:nvPicPr>
          <p:cNvPr id="42" name="Graphique 59" descr="Maison">
            <a:extLst>
              <a:ext uri="{FF2B5EF4-FFF2-40B4-BE49-F238E27FC236}">
                <a16:creationId xmlns:a16="http://schemas.microsoft.com/office/drawing/2014/main" id="{BC4F0B27-C686-1D40-AF46-728B85010E8C}"/>
              </a:ext>
            </a:extLst>
          </p:cNvPr>
          <p:cNvPicPr>
            <a:picLocks noChangeAspect="1"/>
          </p:cNvPicPr>
          <p:nvPr/>
        </p:nvPicPr>
        <p:blipFill>
          <a:blip r:embed="rId10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1194211" y="2807125"/>
            <a:ext cx="480231" cy="480231"/>
          </a:xfrm>
          <a:prstGeom prst="rect">
            <a:avLst/>
          </a:prstGeom>
        </p:spPr>
      </p:pic>
      <p:sp>
        <p:nvSpPr>
          <p:cNvPr id="43" name="ZoneTexte 42">
            <a:extLst>
              <a:ext uri="{FF2B5EF4-FFF2-40B4-BE49-F238E27FC236}">
                <a16:creationId xmlns:a16="http://schemas.microsoft.com/office/drawing/2014/main" id="{0E424E5D-C8D6-3B4A-A98F-F05D35C21EE0}"/>
              </a:ext>
            </a:extLst>
          </p:cNvPr>
          <p:cNvSpPr txBox="1"/>
          <p:nvPr/>
        </p:nvSpPr>
        <p:spPr>
          <a:xfrm>
            <a:off x="10317079" y="1794577"/>
            <a:ext cx="1788059" cy="122116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1218072">
              <a:buClr>
                <a:srgbClr val="F6A924"/>
              </a:buClr>
            </a:pPr>
            <a:r>
              <a:rPr lang="fr-FR" sz="1467">
                <a:latin typeface="Marianne" panose="02000000000000000000" pitchFamily="2" charset="0"/>
                <a:ea typeface="Work Sans ExtraBold" charset="0"/>
                <a:cs typeface="Work Sans ExtraBold" charset="0"/>
              </a:rPr>
              <a:t>Les réservataires désignent des candidats</a:t>
            </a:r>
          </a:p>
          <a:p>
            <a:pPr algn="ctr" defTabSz="1218072">
              <a:buClr>
                <a:srgbClr val="F6A924"/>
              </a:buClr>
            </a:pPr>
            <a:r>
              <a:rPr lang="fr-FR" sz="1467">
                <a:latin typeface="Marianne" panose="02000000000000000000" pitchFamily="2" charset="0"/>
                <a:ea typeface="Work Sans ExtraBold" charset="0"/>
                <a:cs typeface="Work Sans ExtraBold" charset="0"/>
              </a:rPr>
              <a:t>(dans le cas d’une gestion directe)</a:t>
            </a:r>
          </a:p>
        </p:txBody>
      </p:sp>
      <p:pic>
        <p:nvPicPr>
          <p:cNvPr id="44" name="Graphique 62" descr="Utilisateur">
            <a:extLst>
              <a:ext uri="{FF2B5EF4-FFF2-40B4-BE49-F238E27FC236}">
                <a16:creationId xmlns:a16="http://schemas.microsoft.com/office/drawing/2014/main" id="{79B48645-F365-3A4F-92E2-CF5E898EF16D}"/>
              </a:ext>
            </a:extLst>
          </p:cNvPr>
          <p:cNvPicPr>
            <a:picLocks noChangeAspect="1"/>
          </p:cNvPicPr>
          <p:nvPr/>
        </p:nvPicPr>
        <p:blipFill>
          <a:blip r:embed="rId12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9796378" y="2903985"/>
            <a:ext cx="633905" cy="633905"/>
          </a:xfrm>
          <a:prstGeom prst="rect">
            <a:avLst/>
          </a:prstGeom>
        </p:spPr>
      </p:pic>
      <p:pic>
        <p:nvPicPr>
          <p:cNvPr id="45" name="Graphique 63" descr="Maison">
            <a:extLst>
              <a:ext uri="{FF2B5EF4-FFF2-40B4-BE49-F238E27FC236}">
                <a16:creationId xmlns:a16="http://schemas.microsoft.com/office/drawing/2014/main" id="{9B9029D8-9005-424B-9C55-445B601A4FBD}"/>
              </a:ext>
            </a:extLst>
          </p:cNvPr>
          <p:cNvPicPr>
            <a:picLocks noChangeAspect="1"/>
          </p:cNvPicPr>
          <p:nvPr/>
        </p:nvPicPr>
        <p:blipFill>
          <a:blip r:embed="rId10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4153122" y="2121283"/>
            <a:ext cx="480231" cy="480231"/>
          </a:xfrm>
          <a:prstGeom prst="rect">
            <a:avLst/>
          </a:prstGeom>
        </p:spPr>
      </p:pic>
      <p:cxnSp>
        <p:nvCxnSpPr>
          <p:cNvPr id="46" name="Connecteur : en arc 69">
            <a:extLst>
              <a:ext uri="{FF2B5EF4-FFF2-40B4-BE49-F238E27FC236}">
                <a16:creationId xmlns:a16="http://schemas.microsoft.com/office/drawing/2014/main" id="{6C7BBA1D-F98C-404B-88F2-D9D7D48D5048}"/>
              </a:ext>
            </a:extLst>
          </p:cNvPr>
          <p:cNvCxnSpPr>
            <a:cxnSpLocks/>
            <a:stCxn id="40" idx="3"/>
            <a:endCxn id="39" idx="1"/>
          </p:cNvCxnSpPr>
          <p:nvPr/>
        </p:nvCxnSpPr>
        <p:spPr>
          <a:xfrm flipV="1">
            <a:off x="7996443" y="1584853"/>
            <a:ext cx="1788059" cy="1078737"/>
          </a:xfrm>
          <a:prstGeom prst="curvedConnector3">
            <a:avLst>
              <a:gd name="adj1" fmla="val 50000"/>
            </a:avLst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7" name="Graphique 65" descr="Maison">
            <a:extLst>
              <a:ext uri="{FF2B5EF4-FFF2-40B4-BE49-F238E27FC236}">
                <a16:creationId xmlns:a16="http://schemas.microsoft.com/office/drawing/2014/main" id="{80AE590C-2A7B-4E40-9BCC-3ACE9D4647EB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749798" y="2105138"/>
            <a:ext cx="480231" cy="480231"/>
          </a:xfrm>
          <a:prstGeom prst="rect">
            <a:avLst/>
          </a:prstGeom>
        </p:spPr>
      </p:pic>
      <p:pic>
        <p:nvPicPr>
          <p:cNvPr id="48" name="Graphique 66" descr="Maison">
            <a:extLst>
              <a:ext uri="{FF2B5EF4-FFF2-40B4-BE49-F238E27FC236}">
                <a16:creationId xmlns:a16="http://schemas.microsoft.com/office/drawing/2014/main" id="{88A00126-D06F-8C4E-93F8-1A25B55864F3}"/>
              </a:ext>
            </a:extLst>
          </p:cNvPr>
          <p:cNvPicPr>
            <a:picLocks noChangeAspect="1"/>
          </p:cNvPicPr>
          <p:nvPr/>
        </p:nvPicPr>
        <p:blipFill>
          <a:blip r:embed="rId14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1350434" y="3540349"/>
            <a:ext cx="480231" cy="480231"/>
          </a:xfrm>
          <a:prstGeom prst="rect">
            <a:avLst/>
          </a:prstGeom>
        </p:spPr>
      </p:pic>
      <p:pic>
        <p:nvPicPr>
          <p:cNvPr id="49" name="Graphique 67" descr="Maison">
            <a:extLst>
              <a:ext uri="{FF2B5EF4-FFF2-40B4-BE49-F238E27FC236}">
                <a16:creationId xmlns:a16="http://schemas.microsoft.com/office/drawing/2014/main" id="{5846EF23-EEB6-A543-9E83-872D44E4835D}"/>
              </a:ext>
            </a:extLst>
          </p:cNvPr>
          <p:cNvPicPr>
            <a:picLocks noChangeAspect="1"/>
          </p:cNvPicPr>
          <p:nvPr/>
        </p:nvPicPr>
        <p:blipFill>
          <a:blip r:embed="rId14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4231071" y="5253026"/>
            <a:ext cx="480231" cy="480231"/>
          </a:xfrm>
          <a:prstGeom prst="rect">
            <a:avLst/>
          </a:prstGeom>
        </p:spPr>
      </p:pic>
      <p:sp>
        <p:nvSpPr>
          <p:cNvPr id="50" name="ZoneTexte 49">
            <a:extLst>
              <a:ext uri="{FF2B5EF4-FFF2-40B4-BE49-F238E27FC236}">
                <a16:creationId xmlns:a16="http://schemas.microsoft.com/office/drawing/2014/main" id="{2C50D5E6-6A13-BF49-ACF8-D12A97705392}"/>
              </a:ext>
            </a:extLst>
          </p:cNvPr>
          <p:cNvSpPr txBox="1"/>
          <p:nvPr/>
        </p:nvSpPr>
        <p:spPr>
          <a:xfrm>
            <a:off x="3311692" y="5746062"/>
            <a:ext cx="2285497" cy="31810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1218072">
              <a:buClr>
                <a:srgbClr val="F6A924"/>
              </a:buClr>
            </a:pPr>
            <a:r>
              <a:rPr lang="fr-FR" sz="1467">
                <a:latin typeface="Marianne" panose="02000000000000000000" pitchFamily="2" charset="0"/>
                <a:ea typeface="Work Sans ExtraBold" charset="0"/>
                <a:cs typeface="Work Sans ExtraBold" charset="0"/>
              </a:rPr>
              <a:t>Logement hors assiette</a:t>
            </a:r>
          </a:p>
        </p:txBody>
      </p:sp>
      <p:sp>
        <p:nvSpPr>
          <p:cNvPr id="51" name="ZoneTexte 50">
            <a:extLst>
              <a:ext uri="{FF2B5EF4-FFF2-40B4-BE49-F238E27FC236}">
                <a16:creationId xmlns:a16="http://schemas.microsoft.com/office/drawing/2014/main" id="{4D6B2509-6E4F-1D4F-956D-DD7F36922F96}"/>
              </a:ext>
            </a:extLst>
          </p:cNvPr>
          <p:cNvSpPr txBox="1"/>
          <p:nvPr/>
        </p:nvSpPr>
        <p:spPr>
          <a:xfrm>
            <a:off x="6695561" y="3014383"/>
            <a:ext cx="2071775" cy="122116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1218072">
              <a:buClr>
                <a:srgbClr val="F6A924"/>
              </a:buClr>
            </a:pPr>
            <a:r>
              <a:rPr lang="fr-FR" sz="1467">
                <a:latin typeface="Marianne" panose="02000000000000000000" pitchFamily="2" charset="0"/>
                <a:ea typeface="Work Sans ExtraBold" charset="0"/>
                <a:cs typeface="Work Sans ExtraBold" charset="0"/>
              </a:rPr>
              <a:t>Le bailleur oriente le logement vers un des réservataires en fonction d’un flux défini annuellement</a:t>
            </a:r>
          </a:p>
        </p:txBody>
      </p:sp>
      <p:cxnSp>
        <p:nvCxnSpPr>
          <p:cNvPr id="52" name="Connecteur : en arc 69">
            <a:extLst>
              <a:ext uri="{FF2B5EF4-FFF2-40B4-BE49-F238E27FC236}">
                <a16:creationId xmlns:a16="http://schemas.microsoft.com/office/drawing/2014/main" id="{08CCACAA-F39C-F541-9242-4B4C2C4F90BD}"/>
              </a:ext>
            </a:extLst>
          </p:cNvPr>
          <p:cNvCxnSpPr>
            <a:cxnSpLocks/>
            <a:stCxn id="40" idx="3"/>
            <a:endCxn id="35" idx="1"/>
          </p:cNvCxnSpPr>
          <p:nvPr/>
        </p:nvCxnSpPr>
        <p:spPr>
          <a:xfrm flipV="1">
            <a:off x="7996444" y="2402895"/>
            <a:ext cx="1780897" cy="260695"/>
          </a:xfrm>
          <a:prstGeom prst="curvedConnector3">
            <a:avLst>
              <a:gd name="adj1" fmla="val 50000"/>
            </a:avLst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Connecteur : en arc 69">
            <a:extLst>
              <a:ext uri="{FF2B5EF4-FFF2-40B4-BE49-F238E27FC236}">
                <a16:creationId xmlns:a16="http://schemas.microsoft.com/office/drawing/2014/main" id="{98C2E43C-79EA-D54F-B214-B5DB62AB5305}"/>
              </a:ext>
            </a:extLst>
          </p:cNvPr>
          <p:cNvCxnSpPr>
            <a:cxnSpLocks/>
            <a:stCxn id="40" idx="3"/>
            <a:endCxn id="44" idx="1"/>
          </p:cNvCxnSpPr>
          <p:nvPr/>
        </p:nvCxnSpPr>
        <p:spPr>
          <a:xfrm>
            <a:off x="7996443" y="2663590"/>
            <a:ext cx="1799935" cy="557348"/>
          </a:xfrm>
          <a:prstGeom prst="curvedConnector3">
            <a:avLst>
              <a:gd name="adj1" fmla="val 50000"/>
            </a:avLst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Connecteur : en arc 69">
            <a:extLst>
              <a:ext uri="{FF2B5EF4-FFF2-40B4-BE49-F238E27FC236}">
                <a16:creationId xmlns:a16="http://schemas.microsoft.com/office/drawing/2014/main" id="{068E524E-47C8-8142-9A2E-B36AAA97E43A}"/>
              </a:ext>
            </a:extLst>
          </p:cNvPr>
          <p:cNvCxnSpPr>
            <a:cxnSpLocks/>
          </p:cNvCxnSpPr>
          <p:nvPr/>
        </p:nvCxnSpPr>
        <p:spPr>
          <a:xfrm flipV="1">
            <a:off x="2030923" y="2361400"/>
            <a:ext cx="1751453" cy="1067601"/>
          </a:xfrm>
          <a:prstGeom prst="curvedConnector3">
            <a:avLst>
              <a:gd name="adj1" fmla="val 50000"/>
            </a:avLst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Connecteur : en arc 69">
            <a:extLst>
              <a:ext uri="{FF2B5EF4-FFF2-40B4-BE49-F238E27FC236}">
                <a16:creationId xmlns:a16="http://schemas.microsoft.com/office/drawing/2014/main" id="{004817AD-A811-4648-A206-3356BD614C65}"/>
              </a:ext>
            </a:extLst>
          </p:cNvPr>
          <p:cNvCxnSpPr>
            <a:cxnSpLocks/>
          </p:cNvCxnSpPr>
          <p:nvPr/>
        </p:nvCxnSpPr>
        <p:spPr>
          <a:xfrm>
            <a:off x="2040671" y="3780463"/>
            <a:ext cx="1841152" cy="1806088"/>
          </a:xfrm>
          <a:prstGeom prst="curvedConnector3">
            <a:avLst>
              <a:gd name="adj1" fmla="val 50000"/>
            </a:avLst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Connecteur : en arc 69">
            <a:extLst>
              <a:ext uri="{FF2B5EF4-FFF2-40B4-BE49-F238E27FC236}">
                <a16:creationId xmlns:a16="http://schemas.microsoft.com/office/drawing/2014/main" id="{7AE552E4-F73B-3C47-925F-1B6DFF7713A7}"/>
              </a:ext>
            </a:extLst>
          </p:cNvPr>
          <p:cNvCxnSpPr>
            <a:cxnSpLocks/>
            <a:endCxn id="40" idx="1"/>
          </p:cNvCxnSpPr>
          <p:nvPr/>
        </p:nvCxnSpPr>
        <p:spPr>
          <a:xfrm>
            <a:off x="5394675" y="2382477"/>
            <a:ext cx="1967863" cy="281112"/>
          </a:xfrm>
          <a:prstGeom prst="curvedConnector3">
            <a:avLst>
              <a:gd name="adj1" fmla="val 50000"/>
            </a:avLst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Connecteur : en arc 69">
            <a:extLst>
              <a:ext uri="{FF2B5EF4-FFF2-40B4-BE49-F238E27FC236}">
                <a16:creationId xmlns:a16="http://schemas.microsoft.com/office/drawing/2014/main" id="{1A9B9002-6B21-5D40-ADAF-46DB2C78E916}"/>
              </a:ext>
            </a:extLst>
          </p:cNvPr>
          <p:cNvCxnSpPr>
            <a:cxnSpLocks/>
            <a:endCxn id="36" idx="1"/>
          </p:cNvCxnSpPr>
          <p:nvPr/>
        </p:nvCxnSpPr>
        <p:spPr>
          <a:xfrm flipV="1">
            <a:off x="5043082" y="4963052"/>
            <a:ext cx="2319455" cy="615216"/>
          </a:xfrm>
          <a:prstGeom prst="curvedConnector3">
            <a:avLst>
              <a:gd name="adj1" fmla="val 50000"/>
            </a:avLst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8" name="Graphique 76" descr="Utilisateur">
            <a:extLst>
              <a:ext uri="{FF2B5EF4-FFF2-40B4-BE49-F238E27FC236}">
                <a16:creationId xmlns:a16="http://schemas.microsoft.com/office/drawing/2014/main" id="{AE5FFA29-D450-8A4A-8E3D-859C05559B5E}"/>
              </a:ext>
            </a:extLst>
          </p:cNvPr>
          <p:cNvPicPr>
            <a:picLocks noChangeAspect="1"/>
          </p:cNvPicPr>
          <p:nvPr/>
        </p:nvPicPr>
        <p:blipFill>
          <a:blip r:embed="rId12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9627772" y="4666805"/>
            <a:ext cx="633905" cy="633905"/>
          </a:xfrm>
          <a:prstGeom prst="rect">
            <a:avLst/>
          </a:prstGeom>
        </p:spPr>
      </p:pic>
      <p:pic>
        <p:nvPicPr>
          <p:cNvPr id="59" name="Graphique 77" descr="Utilisateur">
            <a:extLst>
              <a:ext uri="{FF2B5EF4-FFF2-40B4-BE49-F238E27FC236}">
                <a16:creationId xmlns:a16="http://schemas.microsoft.com/office/drawing/2014/main" id="{A52DCDD3-07B7-9448-BB63-316E3C2FE3EC}"/>
              </a:ext>
            </a:extLst>
          </p:cNvPr>
          <p:cNvPicPr>
            <a:picLocks noChangeAspect="1"/>
          </p:cNvPicPr>
          <p:nvPr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843250" y="4666804"/>
            <a:ext cx="633905" cy="633905"/>
          </a:xfrm>
          <a:prstGeom prst="rect">
            <a:avLst/>
          </a:prstGeom>
        </p:spPr>
      </p:pic>
      <p:sp>
        <p:nvSpPr>
          <p:cNvPr id="60" name="ZoneTexte 59">
            <a:extLst>
              <a:ext uri="{FF2B5EF4-FFF2-40B4-BE49-F238E27FC236}">
                <a16:creationId xmlns:a16="http://schemas.microsoft.com/office/drawing/2014/main" id="{F0572080-D825-FB42-AE4D-F74BFF4DBC7E}"/>
              </a:ext>
            </a:extLst>
          </p:cNvPr>
          <p:cNvSpPr txBox="1"/>
          <p:nvPr/>
        </p:nvSpPr>
        <p:spPr>
          <a:xfrm>
            <a:off x="9106068" y="5311303"/>
            <a:ext cx="2953360" cy="54386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1218072">
              <a:buClr>
                <a:srgbClr val="F6A924"/>
              </a:buClr>
            </a:pPr>
            <a:r>
              <a:rPr lang="fr-FR" sz="1467">
                <a:latin typeface="Marianne" panose="02000000000000000000" pitchFamily="2" charset="0"/>
                <a:ea typeface="Work Sans ExtraBold" charset="0"/>
                <a:cs typeface="Work Sans ExtraBold" charset="0"/>
              </a:rPr>
              <a:t>Les réservataires contrôlent l’utilisation de ces logements</a:t>
            </a:r>
          </a:p>
        </p:txBody>
      </p:sp>
    </p:spTree>
    <p:extLst>
      <p:ext uri="{BB962C8B-B14F-4D97-AF65-F5344CB8AC3E}">
        <p14:creationId xmlns:p14="http://schemas.microsoft.com/office/powerpoint/2010/main" val="42028602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J7wfyupRSyjg6Jgy.YmUg"/>
</p:tagLst>
</file>

<file path=ppt/theme/theme1.xml><?xml version="1.0" encoding="utf-8"?>
<a:theme xmlns:a="http://schemas.openxmlformats.org/drawingml/2006/main" name="1_Bleu &quot;Pétale&quot;">
  <a:themeElements>
    <a:clrScheme name="UGAP">
      <a:dk1>
        <a:srgbClr val="000000"/>
      </a:dk1>
      <a:lt1>
        <a:srgbClr val="FFFFFF"/>
      </a:lt1>
      <a:dk2>
        <a:srgbClr val="383934"/>
      </a:dk2>
      <a:lt2>
        <a:srgbClr val="143C67"/>
      </a:lt2>
      <a:accent1>
        <a:srgbClr val="B70E0C"/>
      </a:accent1>
      <a:accent2>
        <a:srgbClr val="E7421D"/>
      </a:accent2>
      <a:accent3>
        <a:srgbClr val="2881BA"/>
      </a:accent3>
      <a:accent4>
        <a:srgbClr val="864896"/>
      </a:accent4>
      <a:accent5>
        <a:srgbClr val="2EAB5F"/>
      </a:accent5>
      <a:accent6>
        <a:srgbClr val="F6C614"/>
      </a:accent6>
      <a:hlink>
        <a:srgbClr val="2881BA"/>
      </a:hlink>
      <a:folHlink>
        <a:srgbClr val="7030A0"/>
      </a:folHlink>
    </a:clrScheme>
    <a:fontScheme name="Eurogroup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Masque Eurogroup Consulting.potx" id="{8E1FF67B-502A-4164-9A4B-361651895BB0}" vid="{83B4BA05-A229-46A3-BA22-CFBDA7F9E35F}"/>
    </a:ext>
  </a:extLst>
</a:theme>
</file>

<file path=ppt/theme/theme2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19319387893AD34CAF8932D2C682D503" ma:contentTypeVersion="" ma:contentTypeDescription="Crée un document." ma:contentTypeScope="" ma:versionID="7b00a6a7697a660c3395231c78932a35">
  <xsd:schema xmlns:xsd="http://www.w3.org/2001/XMLSchema" xmlns:xs="http://www.w3.org/2001/XMLSchema" xmlns:p="http://schemas.microsoft.com/office/2006/metadata/properties" xmlns:ns2="a050e9f6-8e32-4669-99ae-345289fb9c6b" xmlns:ns3="7EB0CB60-47EF-49EB-A2AB-929EDAE9E440" xmlns:ns4="7eb0cb60-47ef-49eb-a2ab-929edae9e440" targetNamespace="http://schemas.microsoft.com/office/2006/metadata/properties" ma:root="true" ma:fieldsID="9eb92c25c6793d90fdadf3a4ba4d8358" ns2:_="" ns3:_="" ns4:_="">
    <xsd:import namespace="a050e9f6-8e32-4669-99ae-345289fb9c6b"/>
    <xsd:import namespace="7EB0CB60-47EF-49EB-A2AB-929EDAE9E440"/>
    <xsd:import namespace="7eb0cb60-47ef-49eb-a2ab-929edae9e440"/>
    <xsd:element name="properties">
      <xsd:complexType>
        <xsd:sequence>
          <xsd:element name="documentManagement">
            <xsd:complexType>
              <xsd:all>
                <xsd:element ref="ns2:Année" minOccurs="0"/>
                <xsd:element ref="ns2:Assistante" minOccurs="0"/>
                <xsd:element ref="ns2:Client" minOccurs="0"/>
                <xsd:element ref="ns2:Equipe" minOccurs="0"/>
                <xsd:element ref="ns2:ID_x0020_client" minOccurs="0"/>
                <xsd:element ref="ns2:Intitulé_x0020_de_x0020_la_x0020_mission" minOccurs="0"/>
                <xsd:element ref="ns2:Numéro_x0020_de_x0020_mission" minOccurs="0"/>
                <xsd:element ref="ns2:Produit" minOccurs="0"/>
                <xsd:element ref="ns2:Responsable_x0020_de_x0020_mission" minOccurs="0"/>
                <xsd:element ref="ns2:ScriptExecuted" minOccurs="0"/>
                <xsd:element ref="ns2:Secteur" minOccurs="0"/>
                <xsd:element ref="ns2:Site_x0020_client" minOccurs="0"/>
                <xsd:element ref="ns2:Site_x0020_mission" minOccurs="0"/>
                <xsd:element ref="ns2:URL_x0020_mission" minOccurs="0"/>
                <xsd:element ref="ns3:MediaServiceMetadata" minOccurs="0"/>
                <xsd:element ref="ns3:MediaServiceFastMetadata" minOccurs="0"/>
                <xsd:element ref="ns4:MediaServiceDateTaken" minOccurs="0"/>
                <xsd:element ref="ns4:MediaServiceAutoTags" minOccurs="0"/>
                <xsd:element ref="ns4:MediaLengthInSeconds" minOccurs="0"/>
                <xsd:element ref="ns4:MediaServiceOCR" minOccurs="0"/>
                <xsd:element ref="ns4:MediaServiceGenerationTime" minOccurs="0"/>
                <xsd:element ref="ns4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050e9f6-8e32-4669-99ae-345289fb9c6b" elementFormDefault="qualified">
    <xsd:import namespace="http://schemas.microsoft.com/office/2006/documentManagement/types"/>
    <xsd:import namespace="http://schemas.microsoft.com/office/infopath/2007/PartnerControls"/>
    <xsd:element name="Année" ma:index="2" nillable="true" ma:displayName="Année" ma:default="2020" ma:internalName="Ann_x00e9_e">
      <xsd:simpleType>
        <xsd:restriction base="dms:Text">
          <xsd:maxLength value="255"/>
        </xsd:restriction>
      </xsd:simpleType>
    </xsd:element>
    <xsd:element name="Assistante" ma:index="3" nillable="true" ma:displayName="Assistante" ma:default="laurence.pommier@mail-alpha.com" ma:internalName="Assistante">
      <xsd:simpleType>
        <xsd:restriction base="dms:Text">
          <xsd:maxLength value="255"/>
        </xsd:restriction>
      </xsd:simpleType>
    </xsd:element>
    <xsd:element name="Client" ma:index="4" nillable="true" ma:displayName="Client" ma:default="DIRECTION INTERMINISTERIELLE DE LA TRANSFORMATION PUBLIQUE" ma:internalName="Client">
      <xsd:simpleType>
        <xsd:restriction base="dms:Text">
          <xsd:maxLength value="255"/>
        </xsd:restriction>
      </xsd:simpleType>
    </xsd:element>
    <xsd:element name="Equipe" ma:index="5" nillable="true" ma:displayName="Equipe" ma:default="9153" ma:internalName="Equipe">
      <xsd:simpleType>
        <xsd:restriction base="dms:Text">
          <xsd:maxLength value="255"/>
        </xsd:restriction>
      </xsd:simpleType>
    </xsd:element>
    <xsd:element name="ID_x0020_client" ma:index="6" nillable="true" ma:displayName="ID client" ma:internalName="ID_x0020_client">
      <xsd:simpleType>
        <xsd:restriction base="dms:Text">
          <xsd:maxLength value="255"/>
        </xsd:restriction>
      </xsd:simpleType>
    </xsd:element>
    <xsd:element name="Intitulé_x0020_de_x0020_la_x0020_mission" ma:index="7" nillable="true" ma:displayName="Intitulé de la mission" ma:internalName="Intitul_x00e9__x0020_de_x0020_la_x0020_mission">
      <xsd:simpleType>
        <xsd:restriction base="dms:Text">
          <xsd:maxLength value="255"/>
        </xsd:restriction>
      </xsd:simpleType>
    </xsd:element>
    <xsd:element name="Numéro_x0020_de_x0020_mission" ma:index="8" nillable="true" ma:displayName="Numéro de mission" ma:default="0067" ma:internalName="Num_x00e9_ro_x0020_de_x0020_mission">
      <xsd:simpleType>
        <xsd:restriction base="dms:Text">
          <xsd:maxLength value="255"/>
        </xsd:restriction>
      </xsd:simpleType>
    </xsd:element>
    <xsd:element name="Produit" ma:index="9" nillable="true" ma:displayName="Produit" ma:default="ACC" ma:internalName="Produit">
      <xsd:simpleType>
        <xsd:restriction base="dms:Text">
          <xsd:maxLength value="255"/>
        </xsd:restriction>
      </xsd:simpleType>
    </xsd:element>
    <xsd:element name="Responsable_x0020_de_x0020_mission" ma:index="10" nillable="true" ma:displayName="Responsable de mission" ma:default="celine.grava@mail-alpha.com" ma:internalName="Responsable_x0020_de_x0020_mission">
      <xsd:simpleType>
        <xsd:restriction base="dms:Text">
          <xsd:maxLength value="255"/>
        </xsd:restriction>
      </xsd:simpleType>
    </xsd:element>
    <xsd:element name="ScriptExecuted" ma:index="11" nillable="true" ma:displayName="ScriptExecuted" ma:internalName="ScriptExecuted" ma:percentage="FALSE">
      <xsd:simpleType>
        <xsd:restriction base="dms:Number"/>
      </xsd:simpleType>
    </xsd:element>
    <xsd:element name="Secteur" ma:index="12" nillable="true" ma:displayName="Secteur" ma:default="---" ma:internalName="Secteur">
      <xsd:simpleType>
        <xsd:restriction base="dms:Text">
          <xsd:maxLength value="255"/>
        </xsd:restriction>
      </xsd:simpleType>
    </xsd:element>
    <xsd:element name="Site_x0020_client" ma:index="13" nillable="true" ma:displayName="Site client" ma:format="Hyperlink" ma:internalName="Site_x0020_client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Site_x0020_mission" ma:index="14" nillable="true" ma:displayName="Site mission" ma:format="Hyperlink" ma:internalName="Site_x0020_mission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URL_x0020_mission" ma:index="21" nillable="true" ma:displayName="URL mission" ma:format="Hyperlink" ma:internalName="URL_x0020_mission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EB0CB60-47EF-49EB-A2AB-929EDAE9E44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22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23" nillable="true" ma:displayName="MediaServiceFastMetadata" ma:hidden="true" ma:internalName="MediaServiceFastMetadata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eb0cb60-47ef-49eb-a2ab-929edae9e440" elementFormDefault="qualified">
    <xsd:import namespace="http://schemas.microsoft.com/office/2006/documentManagement/types"/>
    <xsd:import namespace="http://schemas.microsoft.com/office/infopath/2007/PartnerControls"/>
    <xsd:element name="MediaServiceDateTaken" ma:index="24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25" nillable="true" ma:displayName="Tags" ma:internalName="MediaServiceAutoTags" ma:readOnly="true">
      <xsd:simpleType>
        <xsd:restriction base="dms:Text"/>
      </xsd:simpleType>
    </xsd:element>
    <xsd:element name="MediaLengthInSeconds" ma:index="26" nillable="true" ma:displayName="MediaLengthInSeconds" ma:hidden="true" ma:internalName="MediaLengthInSeconds" ma:readOnly="true">
      <xsd:simpleType>
        <xsd:restriction base="dms:Unknown"/>
      </xsd:simpleType>
    </xsd:element>
    <xsd:element name="MediaServiceOCR" ma:index="27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28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29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17" ma:displayName="Type de contenu"/>
        <xsd:element ref="dc:title" minOccurs="0" maxOccurs="1" ma:index="1" ma:displayName="Titr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lient xmlns="a050e9f6-8e32-4669-99ae-345289fb9c6b">DIRECTION INTERMINISTERIELLE DE LA TRANSFORMATION PUBLIQUE</Client>
    <Numéro_x0020_de_x0020_mission xmlns="a050e9f6-8e32-4669-99ae-345289fb9c6b">0067</Numéro_x0020_de_x0020_mission>
    <Produit xmlns="a050e9f6-8e32-4669-99ae-345289fb9c6b">ACC</Produit>
    <Responsable_x0020_de_x0020_mission xmlns="a050e9f6-8e32-4669-99ae-345289fb9c6b">celine.grava@mail-alpha.com</Responsable_x0020_de_x0020_mission>
    <Assistante xmlns="a050e9f6-8e32-4669-99ae-345289fb9c6b">laurence.pommier@mail-alpha.com</Assistante>
    <Equipe xmlns="a050e9f6-8e32-4669-99ae-345289fb9c6b">9153</Equipe>
    <Site_x0020_client xmlns="a050e9f6-8e32-4669-99ae-345289fb9c6b">
      <Url xsi:nil="true"/>
      <Description xsi:nil="true"/>
    </Site_x0020_client>
    <Année xmlns="a050e9f6-8e32-4669-99ae-345289fb9c6b">2020</Année>
    <ID_x0020_client xmlns="a050e9f6-8e32-4669-99ae-345289fb9c6b" xsi:nil="true"/>
    <ScriptExecuted xmlns="a050e9f6-8e32-4669-99ae-345289fb9c6b" xsi:nil="true"/>
    <URL_x0020_mission xmlns="a050e9f6-8e32-4669-99ae-345289fb9c6b">
      <Url xsi:nil="true"/>
      <Description xsi:nil="true"/>
    </URL_x0020_mission>
    <Secteur xmlns="a050e9f6-8e32-4669-99ae-345289fb9c6b">---</Secteur>
    <Intitulé_x0020_de_x0020_la_x0020_mission xmlns="a050e9f6-8e32-4669-99ae-345289fb9c6b" xsi:nil="true"/>
    <Site_x0020_mission xmlns="a050e9f6-8e32-4669-99ae-345289fb9c6b">
      <Url xsi:nil="true"/>
      <Description xsi:nil="true"/>
    </Site_x0020_mission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22EDD241-28AD-4D28-A80A-8591008CA0E9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a050e9f6-8e32-4669-99ae-345289fb9c6b"/>
    <ds:schemaRef ds:uri="7EB0CB60-47EF-49EB-A2AB-929EDAE9E440"/>
    <ds:schemaRef ds:uri="7eb0cb60-47ef-49eb-a2ab-929edae9e440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4DA39859-08FD-46B4-9F60-0F36BB1E8E92}">
  <ds:schemaRefs>
    <ds:schemaRef ds:uri="http://purl.org/dc/dcmitype/"/>
    <ds:schemaRef ds:uri="http://schemas.microsoft.com/office/2006/documentManagement/types"/>
    <ds:schemaRef ds:uri="7EB0CB60-47EF-49EB-A2AB-929EDAE9E440"/>
    <ds:schemaRef ds:uri="http://purl.org/dc/elements/1.1/"/>
    <ds:schemaRef ds:uri="http://schemas.microsoft.com/office/2006/metadata/properties"/>
    <ds:schemaRef ds:uri="7eb0cb60-47ef-49eb-a2ab-929edae9e440"/>
    <ds:schemaRef ds:uri="a050e9f6-8e32-4669-99ae-345289fb9c6b"/>
    <ds:schemaRef ds:uri="http://schemas.microsoft.com/office/infopath/2007/PartnerControls"/>
    <ds:schemaRef ds:uri="http://schemas.openxmlformats.org/package/2006/metadata/core-properties"/>
    <ds:schemaRef ds:uri="http://www.w3.org/XML/1998/namespace"/>
    <ds:schemaRef ds:uri="http://purl.org/dc/terms/"/>
  </ds:schemaRefs>
</ds:datastoreItem>
</file>

<file path=customXml/itemProps3.xml><?xml version="1.0" encoding="utf-8"?>
<ds:datastoreItem xmlns:ds="http://schemas.openxmlformats.org/officeDocument/2006/customXml" ds:itemID="{804CB33E-77AA-424E-904C-EB5BDAECFEB4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522</TotalTime>
  <Words>739</Words>
  <Application>Microsoft Office PowerPoint</Application>
  <PresentationFormat>Grand écran</PresentationFormat>
  <Paragraphs>110</Paragraphs>
  <Slides>8</Slides>
  <Notes>0</Notes>
  <HiddenSlides>0</HiddenSlides>
  <MMClips>0</MMClips>
  <ScaleCrop>false</ScaleCrop>
  <HeadingPairs>
    <vt:vector size="8" baseType="variant">
      <vt:variant>
        <vt:lpstr>Polices utilisées</vt:lpstr>
      </vt:variant>
      <vt:variant>
        <vt:i4>5</vt:i4>
      </vt:variant>
      <vt:variant>
        <vt:lpstr>Thème</vt:lpstr>
      </vt:variant>
      <vt:variant>
        <vt:i4>1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8</vt:i4>
      </vt:variant>
    </vt:vector>
  </HeadingPairs>
  <TitlesOfParts>
    <vt:vector size="15" baseType="lpstr">
      <vt:lpstr>Arial</vt:lpstr>
      <vt:lpstr>Calibri</vt:lpstr>
      <vt:lpstr>Marianne</vt:lpstr>
      <vt:lpstr>Segoe UI</vt:lpstr>
      <vt:lpstr>Work Sans ExtraBold</vt:lpstr>
      <vt:lpstr>1_Bleu "Pétale"</vt:lpstr>
      <vt:lpstr>Diapositive think-cell</vt:lpstr>
      <vt:lpstr>Présentation PowerPoint</vt:lpstr>
      <vt:lpstr>Rappel des objectifs de la gestion en flux</vt:lpstr>
      <vt:lpstr>Présentation PowerPoint</vt:lpstr>
      <vt:lpstr>Présentation PowerPoint</vt:lpstr>
      <vt:lpstr>D’un système de réservations en stock, vers du flux…</vt:lpstr>
      <vt:lpstr>Aujourd’hui, la gestion en stock</vt:lpstr>
      <vt:lpstr>Demain, la gestion en flux</vt:lpstr>
      <vt:lpstr>Gestion en flux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ésentation PowerPoint</dc:title>
  <dc:creator>BOUSSOUIRA Nabil</dc:creator>
  <cp:lastModifiedBy>BOUSSOUIRA Nabil</cp:lastModifiedBy>
  <cp:revision>25</cp:revision>
  <dcterms:created xsi:type="dcterms:W3CDTF">2022-09-01T11:10:15Z</dcterms:created>
  <dcterms:modified xsi:type="dcterms:W3CDTF">2023-01-19T23:13:0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19319387893AD34CAF8932D2C682D503</vt:lpwstr>
  </property>
</Properties>
</file>